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sldIdLst>
    <p:sldId id="1369" r:id="rId3"/>
    <p:sldId id="259" r:id="rId4"/>
    <p:sldId id="276" r:id="rId5"/>
    <p:sldId id="1371" r:id="rId6"/>
    <p:sldId id="269" r:id="rId7"/>
    <p:sldId id="1372" r:id="rId8"/>
    <p:sldId id="1373" r:id="rId9"/>
    <p:sldId id="267" r:id="rId10"/>
    <p:sldId id="277" r:id="rId11"/>
    <p:sldId id="257" r:id="rId12"/>
    <p:sldId id="137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8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96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38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076" autoAdjust="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216" y="688"/>
      </p:cViewPr>
      <p:guideLst>
        <p:guide orient="horz" pos="2328"/>
        <p:guide pos="3840"/>
        <p:guide pos="7296"/>
        <p:guide pos="384"/>
        <p:guide orient="horz" pos="38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F4E89-244F-467E-8654-3AA6A278030A}" type="datetimeFigureOut">
              <a:rPr lang="en-US" smtClean="0"/>
              <a:t>8/1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292E14-2A8E-4A0A-B2AE-B29595BEE5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204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092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9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614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651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076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7597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6970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5633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92E14-2A8E-4A0A-B2AE-B29595BEE52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067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ED664-6433-4736-B375-2E1773A293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DAEE4-BA1F-4140-A56B-A502791BD4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5BFCB6-56B1-4EC5-BE43-B0163ABF6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10E95-6A10-45C4-9469-46D3D8127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EA184-4D1F-44CC-9D6E-84694D1FB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9202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C3719-44EC-4BB4-9173-46694CBA2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1927D3-262C-41D0-B0A3-D588E10428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D0E170-4628-41EE-8FA7-D5D7339B8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CF7716-761A-4518-991A-45D92B7B2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96B5A-B016-45E0-9E60-D2D8ADD0E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450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A2A3A3-3864-4BCD-853B-96054611C9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7B8851-8C11-47B3-9121-B607EF8360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1BF99A-21C8-4B6F-A252-ED66118AD4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9E49B5-0B63-4A49-A0B9-EEC2526AB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B35707-7D4F-49EF-80C1-0DE30E368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273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ED664-6433-4736-B375-2E1773A293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DAEE4-BA1F-4140-A56B-A502791BD4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5BFCB6-56B1-4EC5-BE43-B0163ABF6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10E95-6A10-45C4-9469-46D3D8127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BEA184-4D1F-44CC-9D6E-84694D1FB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8033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3A40B-04B2-49D3-9A6F-3940D09D5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095" y="299467"/>
            <a:ext cx="11223811" cy="612028"/>
          </a:xfrm>
        </p:spPr>
        <p:txBody>
          <a:bodyPr lIns="0" tIns="0" rIns="0" bIns="0">
            <a:normAutofit/>
          </a:bodyPr>
          <a:lstStyle>
            <a:lvl1pPr algn="ctr"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379AB-0D16-4A73-A3F6-9F877FEC3C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095" y="1825625"/>
            <a:ext cx="11223811" cy="4351338"/>
          </a:xfrm>
        </p:spPr>
        <p:txBody>
          <a:bodyPr lIns="0" tIns="0" rIns="0" b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CBA7-C856-46D1-8B0A-0E479D584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4712" y="6356350"/>
            <a:ext cx="255263" cy="365125"/>
          </a:xfrm>
        </p:spPr>
        <p:txBody>
          <a:bodyPr lIns="0" tIns="0" rIns="0" bIns="0"/>
          <a:lstStyle>
            <a:lvl1pPr algn="ctr">
              <a:defRPr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AA41181E-E942-4719-A5EF-2D1D25C222B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0115D7-DC9F-4C82-B312-5713E05331CC}"/>
              </a:ext>
            </a:extLst>
          </p:cNvPr>
          <p:cNvGrpSpPr/>
          <p:nvPr userDrawn="1"/>
        </p:nvGrpSpPr>
        <p:grpSpPr>
          <a:xfrm>
            <a:off x="5698405" y="1483714"/>
            <a:ext cx="795190" cy="0"/>
            <a:chOff x="5015060" y="1420214"/>
            <a:chExt cx="79519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9A74391-1557-4F7A-BAB2-18AF2103C0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5060" y="1420214"/>
              <a:ext cx="230040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D506E3E-B327-49CB-AC92-0A4000F0E9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97635" y="1420214"/>
              <a:ext cx="23004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7E0C4F1-0B57-488D-A75B-B1F33B6381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580210" y="1420214"/>
              <a:ext cx="230040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20DDE0-5B61-4608-B113-B715B3B96250}"/>
              </a:ext>
            </a:extLst>
          </p:cNvPr>
          <p:cNvCxnSpPr/>
          <p:nvPr userDrawn="1"/>
        </p:nvCxnSpPr>
        <p:spPr>
          <a:xfrm>
            <a:off x="336550" y="6356350"/>
            <a:ext cx="115189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032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3A40B-04B2-49D3-9A6F-3940D09D5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095" y="299467"/>
            <a:ext cx="11223811" cy="612028"/>
          </a:xfrm>
        </p:spPr>
        <p:txBody>
          <a:bodyPr lIns="0" tIns="0" rIns="0" bIns="0">
            <a:normAutofit/>
          </a:bodyPr>
          <a:lstStyle>
            <a:lvl1pPr algn="ctr"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CBA7-C856-46D1-8B0A-0E479D584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4712" y="6356350"/>
            <a:ext cx="255263" cy="365125"/>
          </a:xfrm>
        </p:spPr>
        <p:txBody>
          <a:bodyPr lIns="0" tIns="0" rIns="0" bIns="0"/>
          <a:lstStyle>
            <a:lvl1pPr algn="ctr">
              <a:defRPr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AA41181E-E942-4719-A5EF-2D1D25C222B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0115D7-DC9F-4C82-B312-5713E05331CC}"/>
              </a:ext>
            </a:extLst>
          </p:cNvPr>
          <p:cNvGrpSpPr/>
          <p:nvPr userDrawn="1"/>
        </p:nvGrpSpPr>
        <p:grpSpPr>
          <a:xfrm>
            <a:off x="5698405" y="1483714"/>
            <a:ext cx="795190" cy="0"/>
            <a:chOff x="5015060" y="1420214"/>
            <a:chExt cx="79519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9A74391-1557-4F7A-BAB2-18AF2103C0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5060" y="1420214"/>
              <a:ext cx="230040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D506E3E-B327-49CB-AC92-0A4000F0E9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97635" y="1420214"/>
              <a:ext cx="23004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7E0C4F1-0B57-488D-A75B-B1F33B6381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580210" y="1420214"/>
              <a:ext cx="230040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20DDE0-5B61-4608-B113-B715B3B96250}"/>
              </a:ext>
            </a:extLst>
          </p:cNvPr>
          <p:cNvCxnSpPr/>
          <p:nvPr userDrawn="1"/>
        </p:nvCxnSpPr>
        <p:spPr>
          <a:xfrm>
            <a:off x="336550" y="6356350"/>
            <a:ext cx="115189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4484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14248-9123-43BE-8103-8CF92A0E4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21E6C-9908-4DE9-9CDA-B1730F2C85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72E1D-6B00-45D1-AAE6-EB86266D1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C9EB9-5DE2-466A-83BB-8C0A7EED9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62AA12-2AEA-4AFA-B953-2B2944EB4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900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2BC40-B1E5-4E6F-9020-6CD519E1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4AD1E3-E16C-4910-B573-A7C0888E4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B206CF-A27A-4FB4-8C68-F9670474A2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A6273A-2937-4FD9-9648-36C7D8342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C264-5698-49EA-B5C1-BFBB6BCB1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618F0C-88FF-4910-8FD7-D67182775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6344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B86B3-FB6F-4D2E-996E-0D3B67164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54D55-07BB-49BB-829D-657279F1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06ACE0-572D-4ABA-859A-28FDE2225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F6907C-A121-492F-B8CC-11BEA7292A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000174-0889-4E9C-9007-F27068766A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63A4F0-05C0-4254-98B5-D5244D60F3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209348-20F0-46E6-8E30-1B883AC73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82861F-3934-4C4D-8A88-56AA222CD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3402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BA0FC-2B29-44EE-9DB8-20382D334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C373B8-1158-47D2-8466-6DB1C8358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8AB53B-43CB-42B2-BE8F-6308225CA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4FA15C-3D4D-40BD-91AD-1B9B0A8DC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853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D4B457-5A5F-4982-840A-5754D8BD9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C52552-6854-4ED3-8586-8FAE66DC9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2F8C6-C51D-47A0-826B-CF364440A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02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3A40B-04B2-49D3-9A6F-3940D09D5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095" y="299467"/>
            <a:ext cx="11223811" cy="612028"/>
          </a:xfrm>
        </p:spPr>
        <p:txBody>
          <a:bodyPr lIns="0" tIns="0" rIns="0" bIns="0">
            <a:normAutofit/>
          </a:bodyPr>
          <a:lstStyle>
            <a:lvl1pPr algn="ctr"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379AB-0D16-4A73-A3F6-9F877FEC3C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095" y="1825625"/>
            <a:ext cx="11223811" cy="4351338"/>
          </a:xfrm>
        </p:spPr>
        <p:txBody>
          <a:bodyPr lIns="0" tIns="0" rIns="0" b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CBA7-C856-46D1-8B0A-0E479D584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4712" y="6356350"/>
            <a:ext cx="255263" cy="365125"/>
          </a:xfrm>
        </p:spPr>
        <p:txBody>
          <a:bodyPr lIns="0" tIns="0" rIns="0" bIns="0"/>
          <a:lstStyle>
            <a:lvl1pPr algn="ctr">
              <a:defRPr b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AA41181E-E942-4719-A5EF-2D1D25C222B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0115D7-DC9F-4C82-B312-5713E05331CC}"/>
              </a:ext>
            </a:extLst>
          </p:cNvPr>
          <p:cNvGrpSpPr/>
          <p:nvPr userDrawn="1"/>
        </p:nvGrpSpPr>
        <p:grpSpPr>
          <a:xfrm>
            <a:off x="5698405" y="1483714"/>
            <a:ext cx="795190" cy="0"/>
            <a:chOff x="5015060" y="1420214"/>
            <a:chExt cx="79519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9A74391-1557-4F7A-BAB2-18AF2103C0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5060" y="1420214"/>
              <a:ext cx="230040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D506E3E-B327-49CB-AC92-0A4000F0E9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97635" y="1420214"/>
              <a:ext cx="23004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7E0C4F1-0B57-488D-A75B-B1F33B6381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580210" y="1420214"/>
              <a:ext cx="230040" cy="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20DDE0-5B61-4608-B113-B715B3B96250}"/>
              </a:ext>
            </a:extLst>
          </p:cNvPr>
          <p:cNvCxnSpPr/>
          <p:nvPr userDrawn="1"/>
        </p:nvCxnSpPr>
        <p:spPr>
          <a:xfrm>
            <a:off x="336550" y="6356350"/>
            <a:ext cx="115189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631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7F55E-70B5-418C-8442-D4B4CE13DD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5F2032-3F4F-4471-90AA-402E9CC249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D85931-0A26-4341-8E9A-FCE02AD712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D02C48-4BCE-4EE3-8D72-BA0646124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7CA376-2632-44D0-A144-D3FCFF4AE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B77635-FA58-4E98-AB90-6A3AEC8E7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193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A1E26-44F6-4A7C-AE24-0B21A7016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01E6B5-1DFC-4FB1-8361-57F4F9F00B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CF8AA6-C46D-42BB-9A95-416CE9382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72E1C4-96AC-4E51-BE6D-EC8EB2DE2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8BFAEE-B7EA-4322-8A3E-0B3C9016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93F755-8D0F-4836-869F-D5529D1C6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600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C3719-44EC-4BB4-9173-46694CBA2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1927D3-262C-41D0-B0A3-D588E10428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D0E170-4628-41EE-8FA7-D5D7339B8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CF7716-761A-4518-991A-45D92B7B2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96B5A-B016-45E0-9E60-D2D8ADD0E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770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A2A3A3-3864-4BCD-853B-96054611C9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7B8851-8C11-47B3-9121-B607EF8360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1BF99A-21C8-4B6F-A252-ED66118AD4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9E49B5-0B63-4A49-A0B9-EEC2526AB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B35707-7D4F-49EF-80C1-0DE30E368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457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14248-9123-43BE-8103-8CF92A0E4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21E6C-9908-4DE9-9CDA-B1730F2C85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72E1D-6B00-45D1-AAE6-EB86266D1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C9EB9-5DE2-466A-83BB-8C0A7EED9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62AA12-2AEA-4AFA-B953-2B2944EB4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509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2BC40-B1E5-4E6F-9020-6CD519E1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4AD1E3-E16C-4910-B573-A7C0888E4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B206CF-A27A-4FB4-8C68-F9670474A2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A6273A-2937-4FD9-9648-36C7D8342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C264-5698-49EA-B5C1-BFBB6BCB1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618F0C-88FF-4910-8FD7-D67182775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742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B86B3-FB6F-4D2E-996E-0D3B67164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54D55-07BB-49BB-829D-657279F1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06ACE0-572D-4ABA-859A-28FDE2225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F6907C-A121-492F-B8CC-11BEA7292A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000174-0889-4E9C-9007-F27068766A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63A4F0-05C0-4254-98B5-D5244D60F3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209348-20F0-46E6-8E30-1B883AC73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82861F-3934-4C4D-8A88-56AA222CD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848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BA0FC-2B29-44EE-9DB8-20382D334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C373B8-1158-47D2-8466-6DB1C8358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8AB53B-43CB-42B2-BE8F-6308225CA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4FA15C-3D4D-40BD-91AD-1B9B0A8DC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869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D4B457-5A5F-4982-840A-5754D8BD9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C52552-6854-4ED3-8586-8FAE66DC9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2F8C6-C51D-47A0-826B-CF364440A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655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7F55E-70B5-418C-8442-D4B4CE13DD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5F2032-3F4F-4471-90AA-402E9CC249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D85931-0A26-4341-8E9A-FCE02AD712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D02C48-4BCE-4EE3-8D72-BA0646124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7CA376-2632-44D0-A144-D3FCFF4AE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B77635-FA58-4E98-AB90-6A3AEC8E7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95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A1E26-44F6-4A7C-AE24-0B21A7016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01E6B5-1DFC-4FB1-8361-57F4F9F00B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CF8AA6-C46D-42BB-9A95-416CE9382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72E1C4-96AC-4E51-BE6D-EC8EB2DE2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8BFAEE-B7EA-4322-8A3E-0B3C9016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93F755-8D0F-4836-869F-D5529D1C6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472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BEBAE7-264B-472B-AD2B-179F5FBB8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FD3FD5-23F7-4426-BCBE-B28943DEAB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9786B8-A24E-4DD0-BFE1-D85BBDB69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A2ED1-B80B-4AEA-90CE-899905BEB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4E9F5-B7AF-4950-BB8B-57595A580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887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BEBAE7-264B-472B-AD2B-179F5FBB8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FD3FD5-23F7-4426-BCBE-B28943DEAB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9786B8-A24E-4DD0-BFE1-D85BBDB69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A2ED1-B80B-4AEA-90CE-899905BEB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4E9F5-B7AF-4950-BB8B-57595A580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41181E-E942-4719-A5EF-2D1D25C222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152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hyperlink" Target="http://www.youexec.com/" TargetMode="Externa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ublic.tableau.com/views/RockbusterStealthVideoRentals/RockbusterStealthVideoRentals?:language=en-US&amp;:sid=&amp;:redirect=auth&amp;:display_count=n&amp;:origin=viz_share_link" TargetMode="Externa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hyperlink" Target="http://www.youexec.com/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215680" y="239268"/>
            <a:ext cx="4892963" cy="2795978"/>
          </a:xfrm>
          <a:prstGeom prst="rect">
            <a:avLst/>
          </a:prstGeom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914400" y="3413974"/>
            <a:ext cx="10363200" cy="817561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 err="1"/>
              <a:t>Rockbuster</a:t>
            </a:r>
            <a:r>
              <a:rPr lang="en-US" sz="5400" b="1" dirty="0"/>
              <a:t> Stealth</a:t>
            </a:r>
          </a:p>
          <a:p>
            <a:r>
              <a:rPr lang="en-US" sz="5400" b="1" dirty="0"/>
              <a:t>Data Analysi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455F8B0-08CA-259D-6BB9-84FB79A0CDB5}"/>
              </a:ext>
            </a:extLst>
          </p:cNvPr>
          <p:cNvSpPr txBox="1">
            <a:spLocks/>
          </p:cNvSpPr>
          <p:nvPr/>
        </p:nvSpPr>
        <p:spPr>
          <a:xfrm>
            <a:off x="908520" y="5445224"/>
            <a:ext cx="10363200" cy="817561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Nhlonipho</a:t>
            </a:r>
            <a:r>
              <a:rPr lang="en-US" dirty="0"/>
              <a:t> </a:t>
            </a:r>
            <a:r>
              <a:rPr lang="en-US" dirty="0" err="1"/>
              <a:t>Mkhwane</a:t>
            </a:r>
            <a:endParaRPr lang="en-US" dirty="0"/>
          </a:p>
          <a:p>
            <a:r>
              <a:rPr lang="en-US" sz="1800" dirty="0"/>
              <a:t>12.08.2024</a:t>
            </a:r>
          </a:p>
        </p:txBody>
      </p:sp>
    </p:spTree>
    <p:extLst>
      <p:ext uri="{BB962C8B-B14F-4D97-AF65-F5344CB8AC3E}">
        <p14:creationId xmlns:p14="http://schemas.microsoft.com/office/powerpoint/2010/main" val="37535929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49C35-BB9E-4ED1-AB4A-FD36F767B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80E57049-A22E-4DC2-9607-DFC0CB5FC1BE}"/>
              </a:ext>
            </a:extLst>
          </p:cNvPr>
          <p:cNvSpPr/>
          <p:nvPr/>
        </p:nvSpPr>
        <p:spPr>
          <a:xfrm rot="10800000">
            <a:off x="4719759" y="-4"/>
            <a:ext cx="2752482" cy="550415"/>
          </a:xfrm>
          <a:prstGeom prst="round2SameRect">
            <a:avLst>
              <a:gd name="adj1" fmla="val 4175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B0414DC-0BFA-43B7-9765-4655937C7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095" y="694129"/>
            <a:ext cx="11223811" cy="612028"/>
          </a:xfrm>
        </p:spPr>
        <p:txBody>
          <a:bodyPr>
            <a:normAutofit fontScale="90000"/>
          </a:bodyPr>
          <a:lstStyle/>
          <a:p>
            <a:r>
              <a:rPr lang="en-US" dirty="0"/>
              <a:t>QUESTIONS?</a:t>
            </a:r>
            <a:br>
              <a:rPr lang="en-US" dirty="0"/>
            </a:br>
            <a:endParaRPr lang="en-US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59F129-00BC-42B2-A8F2-19161CF0B6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6881" b="26229"/>
          <a:stretch/>
        </p:blipFill>
        <p:spPr>
          <a:xfrm>
            <a:off x="-16329" y="2800487"/>
            <a:ext cx="12213771" cy="2189535"/>
          </a:xfrm>
          <a:prstGeom prst="rect">
            <a:avLst/>
          </a:prstGeom>
        </p:spPr>
      </p:pic>
      <p:sp>
        <p:nvSpPr>
          <p:cNvPr id="11" name="Rectangle: Rounded Corners 82">
            <a:extLst>
              <a:ext uri="{FF2B5EF4-FFF2-40B4-BE49-F238E27FC236}">
                <a16:creationId xmlns:a16="http://schemas.microsoft.com/office/drawing/2014/main" id="{D4CB5C6B-4039-03C8-7044-5E76CDA1F135}"/>
              </a:ext>
            </a:extLst>
          </p:cNvPr>
          <p:cNvSpPr/>
          <p:nvPr/>
        </p:nvSpPr>
        <p:spPr>
          <a:xfrm>
            <a:off x="609600" y="5565061"/>
            <a:ext cx="10972800" cy="60713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llow this link to access the Tableau Dashboard</a:t>
            </a:r>
            <a:endParaRPr lang="en-US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556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215680" y="239268"/>
            <a:ext cx="4892963" cy="2795978"/>
          </a:xfrm>
          <a:prstGeom prst="rect">
            <a:avLst/>
          </a:prstGeom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914400" y="3413974"/>
            <a:ext cx="10363200" cy="817561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 err="1"/>
              <a:t>Rockbuster</a:t>
            </a:r>
            <a:r>
              <a:rPr lang="en-US" sz="5400" b="1" dirty="0"/>
              <a:t> Stealth</a:t>
            </a:r>
          </a:p>
          <a:p>
            <a:r>
              <a:rPr lang="en-US" sz="5400" b="1" dirty="0"/>
              <a:t>Data Analysi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455F8B0-08CA-259D-6BB9-84FB79A0CDB5}"/>
              </a:ext>
            </a:extLst>
          </p:cNvPr>
          <p:cNvSpPr txBox="1">
            <a:spLocks/>
          </p:cNvSpPr>
          <p:nvPr/>
        </p:nvSpPr>
        <p:spPr>
          <a:xfrm>
            <a:off x="908520" y="5445224"/>
            <a:ext cx="10363200" cy="817561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!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04842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60A246-A9C8-4982-BAA5-F0CA468F5663}"/>
              </a:ext>
            </a:extLst>
          </p:cNvPr>
          <p:cNvCxnSpPr/>
          <p:nvPr/>
        </p:nvCxnSpPr>
        <p:spPr>
          <a:xfrm>
            <a:off x="0" y="1123815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A0B0F5C-42EA-4CFC-9BF5-E97B6B45E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095" y="430692"/>
            <a:ext cx="11223811" cy="276999"/>
          </a:xfrm>
        </p:spPr>
        <p:txBody>
          <a:bodyPr>
            <a:spAutoFit/>
          </a:bodyPr>
          <a:lstStyle/>
          <a:p>
            <a:r>
              <a:rPr lang="en-US" sz="2000" dirty="0"/>
              <a:t>KEY QUESTIONS AND OBJEC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F55A5-318B-4564-8E7F-0FD40814D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1181E-E942-4719-A5EF-2D1D25C222B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AA39EB-6DBB-4474-8A3C-6D8F15B3C8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196" r="12196"/>
          <a:stretch/>
        </p:blipFill>
        <p:spPr>
          <a:xfrm>
            <a:off x="-244373" y="2005380"/>
            <a:ext cx="5573485" cy="414099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D31A551-ED23-4DB1-B7DE-90BC68FB9D26}"/>
              </a:ext>
            </a:extLst>
          </p:cNvPr>
          <p:cNvSpPr/>
          <p:nvPr/>
        </p:nvSpPr>
        <p:spPr>
          <a:xfrm>
            <a:off x="6235182" y="3462339"/>
            <a:ext cx="5181600" cy="28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ich movies contributed the most/least to revenue gain?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FCAC6682-D15B-4952-B848-3632CBE2E1F1}"/>
              </a:ext>
            </a:extLst>
          </p:cNvPr>
          <p:cNvCxnSpPr/>
          <p:nvPr/>
        </p:nvCxnSpPr>
        <p:spPr>
          <a:xfrm>
            <a:off x="5559564" y="2005380"/>
            <a:ext cx="5486400" cy="4140995"/>
          </a:xfrm>
          <a:prstGeom prst="bentConnector3">
            <a:avLst>
              <a:gd name="adj1" fmla="val 0"/>
            </a:avLst>
          </a:prstGeom>
          <a:ln w="19050"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938ABCE9-D44B-41DE-90C0-C9180865D832}"/>
              </a:ext>
            </a:extLst>
          </p:cNvPr>
          <p:cNvSpPr/>
          <p:nvPr/>
        </p:nvSpPr>
        <p:spPr>
          <a:xfrm rot="10800000">
            <a:off x="11582400" y="2031204"/>
            <a:ext cx="187236" cy="187236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3959CF-761B-A831-EC29-4DBF1D6CAE61}"/>
              </a:ext>
            </a:extLst>
          </p:cNvPr>
          <p:cNvSpPr/>
          <p:nvPr/>
        </p:nvSpPr>
        <p:spPr>
          <a:xfrm>
            <a:off x="6235182" y="4008162"/>
            <a:ext cx="5181600" cy="28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was the average rental duration for all video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BD2108-243F-949D-80F8-19CB18B9B299}"/>
              </a:ext>
            </a:extLst>
          </p:cNvPr>
          <p:cNvSpPr/>
          <p:nvPr/>
        </p:nvSpPr>
        <p:spPr>
          <a:xfrm>
            <a:off x="6235182" y="4560254"/>
            <a:ext cx="5181600" cy="28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ich countries are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ckbuste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ustomers based in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32C078-60F9-D118-0C23-2AEE0714C245}"/>
              </a:ext>
            </a:extLst>
          </p:cNvPr>
          <p:cNvSpPr/>
          <p:nvPr/>
        </p:nvSpPr>
        <p:spPr>
          <a:xfrm>
            <a:off x="6253112" y="5055154"/>
            <a:ext cx="5181600" cy="28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ere are customers with a high lifetime value based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367945-6893-42C3-AC42-BD541E0861AF}"/>
              </a:ext>
            </a:extLst>
          </p:cNvPr>
          <p:cNvSpPr/>
          <p:nvPr/>
        </p:nvSpPr>
        <p:spPr>
          <a:xfrm>
            <a:off x="6259214" y="5636176"/>
            <a:ext cx="5181600" cy="284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 sales figures vary between geographic regions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9865C0-CE3F-2FED-4993-85C4445C307F}"/>
              </a:ext>
            </a:extLst>
          </p:cNvPr>
          <p:cNvSpPr/>
          <p:nvPr/>
        </p:nvSpPr>
        <p:spPr>
          <a:xfrm>
            <a:off x="6235182" y="2031203"/>
            <a:ext cx="527433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ckbuste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ealth LLC is a movie rental company that used to have stores around the world. Facing stiff competition from streaming services such as Netflix and Amazon Prime, the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ckbuste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ealth management team is planning to use its existing movie licenses to launch an online video rental service in order to stay competitive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5452A8-2F42-F5D5-C2F0-8592B7B7EAB4}"/>
              </a:ext>
            </a:extLst>
          </p:cNvPr>
          <p:cNvGrpSpPr/>
          <p:nvPr/>
        </p:nvGrpSpPr>
        <p:grpSpPr>
          <a:xfrm>
            <a:off x="5652146" y="2348747"/>
            <a:ext cx="360000" cy="360000"/>
            <a:chOff x="8183793" y="1498714"/>
            <a:chExt cx="1097280" cy="109728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CD4FD57-09C9-39CD-5536-93C4FF6D4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793" y="1498714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3">
              <a:extLst>
                <a:ext uri="{FF2B5EF4-FFF2-40B4-BE49-F238E27FC236}">
                  <a16:creationId xmlns:a16="http://schemas.microsoft.com/office/drawing/2014/main" id="{307D0860-46B1-F3F2-F3E6-4CC78888C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9331" y="1713099"/>
              <a:ext cx="666206" cy="624712"/>
            </a:xfrm>
            <a:custGeom>
              <a:avLst/>
              <a:gdLst>
                <a:gd name="T0" fmla="*/ 265 w 646"/>
                <a:gd name="T1" fmla="*/ 338 h 605"/>
                <a:gd name="T2" fmla="*/ 375 w 646"/>
                <a:gd name="T3" fmla="*/ 345 h 605"/>
                <a:gd name="T4" fmla="*/ 382 w 646"/>
                <a:gd name="T5" fmla="*/ 229 h 605"/>
                <a:gd name="T6" fmla="*/ 272 w 646"/>
                <a:gd name="T7" fmla="*/ 222 h 605"/>
                <a:gd name="T8" fmla="*/ 279 w 646"/>
                <a:gd name="T9" fmla="*/ 236 h 605"/>
                <a:gd name="T10" fmla="*/ 368 w 646"/>
                <a:gd name="T11" fmla="*/ 331 h 605"/>
                <a:gd name="T12" fmla="*/ 279 w 646"/>
                <a:gd name="T13" fmla="*/ 236 h 605"/>
                <a:gd name="T14" fmla="*/ 527 w 646"/>
                <a:gd name="T15" fmla="*/ 345 h 605"/>
                <a:gd name="T16" fmla="*/ 534 w 646"/>
                <a:gd name="T17" fmla="*/ 229 h 605"/>
                <a:gd name="T18" fmla="*/ 424 w 646"/>
                <a:gd name="T19" fmla="*/ 222 h 605"/>
                <a:gd name="T20" fmla="*/ 417 w 646"/>
                <a:gd name="T21" fmla="*/ 338 h 605"/>
                <a:gd name="T22" fmla="*/ 431 w 646"/>
                <a:gd name="T23" fmla="*/ 236 h 605"/>
                <a:gd name="T24" fmla="*/ 520 w 646"/>
                <a:gd name="T25" fmla="*/ 331 h 605"/>
                <a:gd name="T26" fmla="*/ 431 w 646"/>
                <a:gd name="T27" fmla="*/ 236 h 605"/>
                <a:gd name="T28" fmla="*/ 113 w 646"/>
                <a:gd name="T29" fmla="*/ 222 h 605"/>
                <a:gd name="T30" fmla="*/ 106 w 646"/>
                <a:gd name="T31" fmla="*/ 338 h 605"/>
                <a:gd name="T32" fmla="*/ 216 w 646"/>
                <a:gd name="T33" fmla="*/ 345 h 605"/>
                <a:gd name="T34" fmla="*/ 223 w 646"/>
                <a:gd name="T35" fmla="*/ 229 h 605"/>
                <a:gd name="T36" fmla="*/ 209 w 646"/>
                <a:gd name="T37" fmla="*/ 331 h 605"/>
                <a:gd name="T38" fmla="*/ 120 w 646"/>
                <a:gd name="T39" fmla="*/ 236 h 605"/>
                <a:gd name="T40" fmla="*/ 209 w 646"/>
                <a:gd name="T41" fmla="*/ 331 h 605"/>
                <a:gd name="T42" fmla="*/ 527 w 646"/>
                <a:gd name="T43" fmla="*/ 528 h 605"/>
                <a:gd name="T44" fmla="*/ 534 w 646"/>
                <a:gd name="T45" fmla="*/ 413 h 605"/>
                <a:gd name="T46" fmla="*/ 424 w 646"/>
                <a:gd name="T47" fmla="*/ 406 h 605"/>
                <a:gd name="T48" fmla="*/ 417 w 646"/>
                <a:gd name="T49" fmla="*/ 521 h 605"/>
                <a:gd name="T50" fmla="*/ 431 w 646"/>
                <a:gd name="T51" fmla="*/ 420 h 605"/>
                <a:gd name="T52" fmla="*/ 520 w 646"/>
                <a:gd name="T53" fmla="*/ 514 h 605"/>
                <a:gd name="T54" fmla="*/ 431 w 646"/>
                <a:gd name="T55" fmla="*/ 420 h 605"/>
                <a:gd name="T56" fmla="*/ 113 w 646"/>
                <a:gd name="T57" fmla="*/ 406 h 605"/>
                <a:gd name="T58" fmla="*/ 106 w 646"/>
                <a:gd name="T59" fmla="*/ 521 h 605"/>
                <a:gd name="T60" fmla="*/ 216 w 646"/>
                <a:gd name="T61" fmla="*/ 528 h 605"/>
                <a:gd name="T62" fmla="*/ 223 w 646"/>
                <a:gd name="T63" fmla="*/ 413 h 605"/>
                <a:gd name="T64" fmla="*/ 209 w 646"/>
                <a:gd name="T65" fmla="*/ 514 h 605"/>
                <a:gd name="T66" fmla="*/ 120 w 646"/>
                <a:gd name="T67" fmla="*/ 420 h 605"/>
                <a:gd name="T68" fmla="*/ 209 w 646"/>
                <a:gd name="T69" fmla="*/ 514 h 605"/>
                <a:gd name="T70" fmla="*/ 327 w 646"/>
                <a:gd name="T71" fmla="*/ 2 h 605"/>
                <a:gd name="T72" fmla="*/ 5 w 646"/>
                <a:gd name="T73" fmla="*/ 193 h 605"/>
                <a:gd name="T74" fmla="*/ 12 w 646"/>
                <a:gd name="T75" fmla="*/ 205 h 605"/>
                <a:gd name="T76" fmla="*/ 47 w 646"/>
                <a:gd name="T77" fmla="*/ 598 h 605"/>
                <a:gd name="T78" fmla="*/ 272 w 646"/>
                <a:gd name="T79" fmla="*/ 605 h 605"/>
                <a:gd name="T80" fmla="*/ 279 w 646"/>
                <a:gd name="T81" fmla="*/ 420 h 605"/>
                <a:gd name="T82" fmla="*/ 368 w 646"/>
                <a:gd name="T83" fmla="*/ 598 h 605"/>
                <a:gd name="T84" fmla="*/ 592 w 646"/>
                <a:gd name="T85" fmla="*/ 605 h 605"/>
                <a:gd name="T86" fmla="*/ 599 w 646"/>
                <a:gd name="T87" fmla="*/ 183 h 605"/>
                <a:gd name="T88" fmla="*/ 638 w 646"/>
                <a:gd name="T89" fmla="*/ 206 h 605"/>
                <a:gd name="T90" fmla="*/ 642 w 646"/>
                <a:gd name="T91" fmla="*/ 193 h 605"/>
                <a:gd name="T92" fmla="*/ 382 w 646"/>
                <a:gd name="T93" fmla="*/ 591 h 605"/>
                <a:gd name="T94" fmla="*/ 375 w 646"/>
                <a:gd name="T95" fmla="*/ 406 h 605"/>
                <a:gd name="T96" fmla="*/ 265 w 646"/>
                <a:gd name="T97" fmla="*/ 413 h 605"/>
                <a:gd name="T98" fmla="*/ 61 w 646"/>
                <a:gd name="T99" fmla="*/ 591 h 605"/>
                <a:gd name="T100" fmla="*/ 323 w 646"/>
                <a:gd name="T101" fmla="*/ 16 h 605"/>
                <a:gd name="T102" fmla="*/ 585 w 646"/>
                <a:gd name="T103" fmla="*/ 591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6" h="605">
                  <a:moveTo>
                    <a:pt x="265" y="229"/>
                  </a:moveTo>
                  <a:cubicBezTo>
                    <a:pt x="265" y="338"/>
                    <a:pt x="265" y="338"/>
                    <a:pt x="265" y="338"/>
                  </a:cubicBezTo>
                  <a:cubicBezTo>
                    <a:pt x="265" y="342"/>
                    <a:pt x="268" y="345"/>
                    <a:pt x="272" y="345"/>
                  </a:cubicBezTo>
                  <a:cubicBezTo>
                    <a:pt x="375" y="345"/>
                    <a:pt x="375" y="345"/>
                    <a:pt x="375" y="345"/>
                  </a:cubicBezTo>
                  <a:cubicBezTo>
                    <a:pt x="379" y="345"/>
                    <a:pt x="382" y="342"/>
                    <a:pt x="382" y="3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2" y="226"/>
                    <a:pt x="379" y="222"/>
                    <a:pt x="375" y="222"/>
                  </a:cubicBezTo>
                  <a:cubicBezTo>
                    <a:pt x="272" y="222"/>
                    <a:pt x="272" y="222"/>
                    <a:pt x="272" y="222"/>
                  </a:cubicBezTo>
                  <a:cubicBezTo>
                    <a:pt x="268" y="222"/>
                    <a:pt x="265" y="226"/>
                    <a:pt x="265" y="229"/>
                  </a:cubicBezTo>
                  <a:close/>
                  <a:moveTo>
                    <a:pt x="279" y="236"/>
                  </a:moveTo>
                  <a:cubicBezTo>
                    <a:pt x="368" y="236"/>
                    <a:pt x="368" y="236"/>
                    <a:pt x="368" y="236"/>
                  </a:cubicBezTo>
                  <a:cubicBezTo>
                    <a:pt x="368" y="331"/>
                    <a:pt x="368" y="331"/>
                    <a:pt x="368" y="331"/>
                  </a:cubicBezTo>
                  <a:cubicBezTo>
                    <a:pt x="279" y="331"/>
                    <a:pt x="279" y="331"/>
                    <a:pt x="279" y="331"/>
                  </a:cubicBezTo>
                  <a:lnTo>
                    <a:pt x="279" y="236"/>
                  </a:lnTo>
                  <a:close/>
                  <a:moveTo>
                    <a:pt x="424" y="345"/>
                  </a:moveTo>
                  <a:cubicBezTo>
                    <a:pt x="527" y="345"/>
                    <a:pt x="527" y="345"/>
                    <a:pt x="527" y="345"/>
                  </a:cubicBezTo>
                  <a:cubicBezTo>
                    <a:pt x="531" y="345"/>
                    <a:pt x="534" y="342"/>
                    <a:pt x="534" y="338"/>
                  </a:cubicBezTo>
                  <a:cubicBezTo>
                    <a:pt x="534" y="229"/>
                    <a:pt x="534" y="229"/>
                    <a:pt x="534" y="229"/>
                  </a:cubicBezTo>
                  <a:cubicBezTo>
                    <a:pt x="534" y="226"/>
                    <a:pt x="531" y="222"/>
                    <a:pt x="527" y="222"/>
                  </a:cubicBezTo>
                  <a:cubicBezTo>
                    <a:pt x="424" y="222"/>
                    <a:pt x="424" y="222"/>
                    <a:pt x="424" y="222"/>
                  </a:cubicBezTo>
                  <a:cubicBezTo>
                    <a:pt x="420" y="222"/>
                    <a:pt x="417" y="226"/>
                    <a:pt x="417" y="229"/>
                  </a:cubicBezTo>
                  <a:cubicBezTo>
                    <a:pt x="417" y="338"/>
                    <a:pt x="417" y="338"/>
                    <a:pt x="417" y="338"/>
                  </a:cubicBezTo>
                  <a:cubicBezTo>
                    <a:pt x="417" y="342"/>
                    <a:pt x="420" y="345"/>
                    <a:pt x="424" y="345"/>
                  </a:cubicBezTo>
                  <a:close/>
                  <a:moveTo>
                    <a:pt x="431" y="236"/>
                  </a:moveTo>
                  <a:cubicBezTo>
                    <a:pt x="520" y="236"/>
                    <a:pt x="520" y="236"/>
                    <a:pt x="520" y="236"/>
                  </a:cubicBezTo>
                  <a:cubicBezTo>
                    <a:pt x="520" y="331"/>
                    <a:pt x="520" y="331"/>
                    <a:pt x="520" y="331"/>
                  </a:cubicBezTo>
                  <a:cubicBezTo>
                    <a:pt x="431" y="331"/>
                    <a:pt x="431" y="331"/>
                    <a:pt x="431" y="331"/>
                  </a:cubicBezTo>
                  <a:lnTo>
                    <a:pt x="431" y="236"/>
                  </a:lnTo>
                  <a:close/>
                  <a:moveTo>
                    <a:pt x="216" y="222"/>
                  </a:moveTo>
                  <a:cubicBezTo>
                    <a:pt x="113" y="222"/>
                    <a:pt x="113" y="222"/>
                    <a:pt x="113" y="222"/>
                  </a:cubicBezTo>
                  <a:cubicBezTo>
                    <a:pt x="109" y="222"/>
                    <a:pt x="106" y="226"/>
                    <a:pt x="106" y="229"/>
                  </a:cubicBezTo>
                  <a:cubicBezTo>
                    <a:pt x="106" y="338"/>
                    <a:pt x="106" y="338"/>
                    <a:pt x="106" y="338"/>
                  </a:cubicBezTo>
                  <a:cubicBezTo>
                    <a:pt x="106" y="342"/>
                    <a:pt x="109" y="345"/>
                    <a:pt x="113" y="345"/>
                  </a:cubicBezTo>
                  <a:cubicBezTo>
                    <a:pt x="216" y="345"/>
                    <a:pt x="216" y="345"/>
                    <a:pt x="216" y="345"/>
                  </a:cubicBezTo>
                  <a:cubicBezTo>
                    <a:pt x="220" y="345"/>
                    <a:pt x="223" y="342"/>
                    <a:pt x="223" y="338"/>
                  </a:cubicBezTo>
                  <a:cubicBezTo>
                    <a:pt x="223" y="229"/>
                    <a:pt x="223" y="229"/>
                    <a:pt x="223" y="229"/>
                  </a:cubicBezTo>
                  <a:cubicBezTo>
                    <a:pt x="223" y="226"/>
                    <a:pt x="220" y="222"/>
                    <a:pt x="216" y="222"/>
                  </a:cubicBezTo>
                  <a:close/>
                  <a:moveTo>
                    <a:pt x="209" y="331"/>
                  </a:moveTo>
                  <a:cubicBezTo>
                    <a:pt x="120" y="331"/>
                    <a:pt x="120" y="331"/>
                    <a:pt x="120" y="331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209" y="236"/>
                    <a:pt x="209" y="236"/>
                    <a:pt x="209" y="236"/>
                  </a:cubicBezTo>
                  <a:lnTo>
                    <a:pt x="209" y="331"/>
                  </a:lnTo>
                  <a:close/>
                  <a:moveTo>
                    <a:pt x="424" y="528"/>
                  </a:moveTo>
                  <a:cubicBezTo>
                    <a:pt x="527" y="528"/>
                    <a:pt x="527" y="528"/>
                    <a:pt x="527" y="528"/>
                  </a:cubicBezTo>
                  <a:cubicBezTo>
                    <a:pt x="531" y="528"/>
                    <a:pt x="534" y="525"/>
                    <a:pt x="534" y="521"/>
                  </a:cubicBezTo>
                  <a:cubicBezTo>
                    <a:pt x="534" y="413"/>
                    <a:pt x="534" y="413"/>
                    <a:pt x="534" y="413"/>
                  </a:cubicBezTo>
                  <a:cubicBezTo>
                    <a:pt x="534" y="409"/>
                    <a:pt x="531" y="406"/>
                    <a:pt x="527" y="406"/>
                  </a:cubicBezTo>
                  <a:cubicBezTo>
                    <a:pt x="424" y="406"/>
                    <a:pt x="424" y="406"/>
                    <a:pt x="424" y="406"/>
                  </a:cubicBezTo>
                  <a:cubicBezTo>
                    <a:pt x="420" y="406"/>
                    <a:pt x="417" y="409"/>
                    <a:pt x="417" y="413"/>
                  </a:cubicBezTo>
                  <a:cubicBezTo>
                    <a:pt x="417" y="521"/>
                    <a:pt x="417" y="521"/>
                    <a:pt x="417" y="521"/>
                  </a:cubicBezTo>
                  <a:cubicBezTo>
                    <a:pt x="417" y="525"/>
                    <a:pt x="420" y="528"/>
                    <a:pt x="424" y="528"/>
                  </a:cubicBezTo>
                  <a:close/>
                  <a:moveTo>
                    <a:pt x="431" y="420"/>
                  </a:moveTo>
                  <a:cubicBezTo>
                    <a:pt x="520" y="420"/>
                    <a:pt x="520" y="420"/>
                    <a:pt x="520" y="420"/>
                  </a:cubicBezTo>
                  <a:cubicBezTo>
                    <a:pt x="520" y="514"/>
                    <a:pt x="520" y="514"/>
                    <a:pt x="520" y="514"/>
                  </a:cubicBezTo>
                  <a:cubicBezTo>
                    <a:pt x="431" y="514"/>
                    <a:pt x="431" y="514"/>
                    <a:pt x="431" y="514"/>
                  </a:cubicBezTo>
                  <a:lnTo>
                    <a:pt x="431" y="420"/>
                  </a:lnTo>
                  <a:close/>
                  <a:moveTo>
                    <a:pt x="216" y="406"/>
                  </a:moveTo>
                  <a:cubicBezTo>
                    <a:pt x="113" y="406"/>
                    <a:pt x="113" y="406"/>
                    <a:pt x="113" y="406"/>
                  </a:cubicBezTo>
                  <a:cubicBezTo>
                    <a:pt x="109" y="406"/>
                    <a:pt x="106" y="409"/>
                    <a:pt x="106" y="413"/>
                  </a:cubicBezTo>
                  <a:cubicBezTo>
                    <a:pt x="106" y="521"/>
                    <a:pt x="106" y="521"/>
                    <a:pt x="106" y="521"/>
                  </a:cubicBezTo>
                  <a:cubicBezTo>
                    <a:pt x="106" y="525"/>
                    <a:pt x="109" y="528"/>
                    <a:pt x="113" y="528"/>
                  </a:cubicBezTo>
                  <a:cubicBezTo>
                    <a:pt x="216" y="528"/>
                    <a:pt x="216" y="528"/>
                    <a:pt x="216" y="528"/>
                  </a:cubicBezTo>
                  <a:cubicBezTo>
                    <a:pt x="220" y="528"/>
                    <a:pt x="223" y="525"/>
                    <a:pt x="223" y="521"/>
                  </a:cubicBezTo>
                  <a:cubicBezTo>
                    <a:pt x="223" y="413"/>
                    <a:pt x="223" y="413"/>
                    <a:pt x="223" y="413"/>
                  </a:cubicBezTo>
                  <a:cubicBezTo>
                    <a:pt x="223" y="409"/>
                    <a:pt x="220" y="406"/>
                    <a:pt x="216" y="406"/>
                  </a:cubicBezTo>
                  <a:close/>
                  <a:moveTo>
                    <a:pt x="209" y="514"/>
                  </a:moveTo>
                  <a:cubicBezTo>
                    <a:pt x="120" y="514"/>
                    <a:pt x="120" y="514"/>
                    <a:pt x="120" y="514"/>
                  </a:cubicBezTo>
                  <a:cubicBezTo>
                    <a:pt x="120" y="420"/>
                    <a:pt x="120" y="420"/>
                    <a:pt x="120" y="420"/>
                  </a:cubicBezTo>
                  <a:cubicBezTo>
                    <a:pt x="209" y="420"/>
                    <a:pt x="209" y="420"/>
                    <a:pt x="209" y="420"/>
                  </a:cubicBezTo>
                  <a:lnTo>
                    <a:pt x="209" y="514"/>
                  </a:lnTo>
                  <a:close/>
                  <a:moveTo>
                    <a:pt x="642" y="193"/>
                  </a:moveTo>
                  <a:cubicBezTo>
                    <a:pt x="327" y="2"/>
                    <a:pt x="327" y="2"/>
                    <a:pt x="327" y="2"/>
                  </a:cubicBezTo>
                  <a:cubicBezTo>
                    <a:pt x="325" y="0"/>
                    <a:pt x="322" y="0"/>
                    <a:pt x="320" y="2"/>
                  </a:cubicBezTo>
                  <a:cubicBezTo>
                    <a:pt x="5" y="193"/>
                    <a:pt x="5" y="193"/>
                    <a:pt x="5" y="193"/>
                  </a:cubicBezTo>
                  <a:cubicBezTo>
                    <a:pt x="1" y="195"/>
                    <a:pt x="0" y="199"/>
                    <a:pt x="2" y="202"/>
                  </a:cubicBezTo>
                  <a:cubicBezTo>
                    <a:pt x="4" y="206"/>
                    <a:pt x="9" y="207"/>
                    <a:pt x="12" y="205"/>
                  </a:cubicBezTo>
                  <a:cubicBezTo>
                    <a:pt x="47" y="183"/>
                    <a:pt x="47" y="183"/>
                    <a:pt x="47" y="183"/>
                  </a:cubicBezTo>
                  <a:cubicBezTo>
                    <a:pt x="47" y="598"/>
                    <a:pt x="47" y="598"/>
                    <a:pt x="47" y="598"/>
                  </a:cubicBezTo>
                  <a:cubicBezTo>
                    <a:pt x="47" y="602"/>
                    <a:pt x="50" y="605"/>
                    <a:pt x="54" y="605"/>
                  </a:cubicBezTo>
                  <a:cubicBezTo>
                    <a:pt x="272" y="605"/>
                    <a:pt x="272" y="605"/>
                    <a:pt x="272" y="605"/>
                  </a:cubicBezTo>
                  <a:cubicBezTo>
                    <a:pt x="276" y="605"/>
                    <a:pt x="279" y="602"/>
                    <a:pt x="279" y="598"/>
                  </a:cubicBezTo>
                  <a:cubicBezTo>
                    <a:pt x="279" y="420"/>
                    <a:pt x="279" y="420"/>
                    <a:pt x="279" y="420"/>
                  </a:cubicBezTo>
                  <a:cubicBezTo>
                    <a:pt x="368" y="420"/>
                    <a:pt x="368" y="420"/>
                    <a:pt x="368" y="420"/>
                  </a:cubicBezTo>
                  <a:cubicBezTo>
                    <a:pt x="368" y="598"/>
                    <a:pt x="368" y="598"/>
                    <a:pt x="368" y="598"/>
                  </a:cubicBezTo>
                  <a:cubicBezTo>
                    <a:pt x="368" y="602"/>
                    <a:pt x="371" y="605"/>
                    <a:pt x="375" y="605"/>
                  </a:cubicBezTo>
                  <a:cubicBezTo>
                    <a:pt x="592" y="605"/>
                    <a:pt x="592" y="605"/>
                    <a:pt x="592" y="605"/>
                  </a:cubicBezTo>
                  <a:cubicBezTo>
                    <a:pt x="596" y="605"/>
                    <a:pt x="599" y="602"/>
                    <a:pt x="599" y="598"/>
                  </a:cubicBezTo>
                  <a:cubicBezTo>
                    <a:pt x="599" y="183"/>
                    <a:pt x="599" y="183"/>
                    <a:pt x="599" y="183"/>
                  </a:cubicBezTo>
                  <a:cubicBezTo>
                    <a:pt x="635" y="205"/>
                    <a:pt x="635" y="205"/>
                    <a:pt x="635" y="205"/>
                  </a:cubicBezTo>
                  <a:cubicBezTo>
                    <a:pt x="636" y="205"/>
                    <a:pt x="637" y="206"/>
                    <a:pt x="638" y="206"/>
                  </a:cubicBezTo>
                  <a:cubicBezTo>
                    <a:pt x="641" y="206"/>
                    <a:pt x="643" y="204"/>
                    <a:pt x="644" y="202"/>
                  </a:cubicBezTo>
                  <a:cubicBezTo>
                    <a:pt x="646" y="199"/>
                    <a:pt x="645" y="195"/>
                    <a:pt x="642" y="193"/>
                  </a:cubicBezTo>
                  <a:close/>
                  <a:moveTo>
                    <a:pt x="585" y="591"/>
                  </a:moveTo>
                  <a:cubicBezTo>
                    <a:pt x="382" y="591"/>
                    <a:pt x="382" y="591"/>
                    <a:pt x="382" y="591"/>
                  </a:cubicBezTo>
                  <a:cubicBezTo>
                    <a:pt x="382" y="413"/>
                    <a:pt x="382" y="413"/>
                    <a:pt x="382" y="413"/>
                  </a:cubicBezTo>
                  <a:cubicBezTo>
                    <a:pt x="382" y="409"/>
                    <a:pt x="379" y="406"/>
                    <a:pt x="375" y="406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68" y="406"/>
                    <a:pt x="265" y="409"/>
                    <a:pt x="265" y="413"/>
                  </a:cubicBezTo>
                  <a:cubicBezTo>
                    <a:pt x="265" y="591"/>
                    <a:pt x="265" y="591"/>
                    <a:pt x="265" y="591"/>
                  </a:cubicBezTo>
                  <a:cubicBezTo>
                    <a:pt x="61" y="591"/>
                    <a:pt x="61" y="591"/>
                    <a:pt x="61" y="591"/>
                  </a:cubicBezTo>
                  <a:cubicBezTo>
                    <a:pt x="61" y="175"/>
                    <a:pt x="61" y="175"/>
                    <a:pt x="61" y="175"/>
                  </a:cubicBezTo>
                  <a:cubicBezTo>
                    <a:pt x="323" y="16"/>
                    <a:pt x="323" y="16"/>
                    <a:pt x="323" y="16"/>
                  </a:cubicBezTo>
                  <a:cubicBezTo>
                    <a:pt x="585" y="175"/>
                    <a:pt x="585" y="175"/>
                    <a:pt x="585" y="175"/>
                  </a:cubicBezTo>
                  <a:lnTo>
                    <a:pt x="585" y="5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B26F0C9-CCCE-4DCB-8502-684D53EA1A69}"/>
              </a:ext>
            </a:extLst>
          </p:cNvPr>
          <p:cNvGrpSpPr/>
          <p:nvPr/>
        </p:nvGrpSpPr>
        <p:grpSpPr>
          <a:xfrm>
            <a:off x="5652146" y="3448096"/>
            <a:ext cx="360000" cy="360000"/>
            <a:chOff x="9907451" y="3059188"/>
            <a:chExt cx="1097280" cy="1097280"/>
          </a:xfrm>
        </p:grpSpPr>
        <p:sp>
          <p:nvSpPr>
            <p:cNvPr id="19" name="Oval 12">
              <a:extLst>
                <a:ext uri="{FF2B5EF4-FFF2-40B4-BE49-F238E27FC236}">
                  <a16:creationId xmlns:a16="http://schemas.microsoft.com/office/drawing/2014/main" id="{BB9E9C76-A208-934A-F737-1EE2C57D2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07451" y="3059188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3022E19E-FCAB-567A-D2D7-D72572260D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21444" y="3283335"/>
              <a:ext cx="669946" cy="648334"/>
            </a:xfrm>
            <a:custGeom>
              <a:avLst/>
              <a:gdLst>
                <a:gd name="T0" fmla="*/ 68 w 436"/>
                <a:gd name="T1" fmla="*/ 141 h 421"/>
                <a:gd name="T2" fmla="*/ 29 w 436"/>
                <a:gd name="T3" fmla="*/ 353 h 421"/>
                <a:gd name="T4" fmla="*/ 321 w 436"/>
                <a:gd name="T5" fmla="*/ 392 h 421"/>
                <a:gd name="T6" fmla="*/ 360 w 436"/>
                <a:gd name="T7" fmla="*/ 180 h 421"/>
                <a:gd name="T8" fmla="*/ 351 w 436"/>
                <a:gd name="T9" fmla="*/ 353 h 421"/>
                <a:gd name="T10" fmla="*/ 68 w 436"/>
                <a:gd name="T11" fmla="*/ 383 h 421"/>
                <a:gd name="T12" fmla="*/ 38 w 436"/>
                <a:gd name="T13" fmla="*/ 180 h 421"/>
                <a:gd name="T14" fmla="*/ 321 w 436"/>
                <a:gd name="T15" fmla="*/ 150 h 421"/>
                <a:gd name="T16" fmla="*/ 351 w 436"/>
                <a:gd name="T17" fmla="*/ 353 h 421"/>
                <a:gd name="T18" fmla="*/ 370 w 436"/>
                <a:gd name="T19" fmla="*/ 203 h 421"/>
                <a:gd name="T20" fmla="*/ 417 w 436"/>
                <a:gd name="T21" fmla="*/ 203 h 421"/>
                <a:gd name="T22" fmla="*/ 393 w 436"/>
                <a:gd name="T23" fmla="*/ 217 h 421"/>
                <a:gd name="T24" fmla="*/ 393 w 436"/>
                <a:gd name="T25" fmla="*/ 189 h 421"/>
                <a:gd name="T26" fmla="*/ 393 w 436"/>
                <a:gd name="T27" fmla="*/ 217 h 421"/>
                <a:gd name="T28" fmla="*/ 231 w 436"/>
                <a:gd name="T29" fmla="*/ 112 h 421"/>
                <a:gd name="T30" fmla="*/ 338 w 436"/>
                <a:gd name="T31" fmla="*/ 2 h 421"/>
                <a:gd name="T32" fmla="*/ 219 w 436"/>
                <a:gd name="T33" fmla="*/ 110 h 421"/>
                <a:gd name="T34" fmla="*/ 154 w 436"/>
                <a:gd name="T35" fmla="*/ 60 h 421"/>
                <a:gd name="T36" fmla="*/ 207 w 436"/>
                <a:gd name="T37" fmla="*/ 112 h 421"/>
                <a:gd name="T38" fmla="*/ 0 w 436"/>
                <a:gd name="T39" fmla="*/ 175 h 421"/>
                <a:gd name="T40" fmla="*/ 63 w 436"/>
                <a:gd name="T41" fmla="*/ 421 h 421"/>
                <a:gd name="T42" fmla="*/ 436 w 436"/>
                <a:gd name="T43" fmla="*/ 358 h 421"/>
                <a:gd name="T44" fmla="*/ 373 w 436"/>
                <a:gd name="T45" fmla="*/ 112 h 421"/>
                <a:gd name="T46" fmla="*/ 373 w 436"/>
                <a:gd name="T47" fmla="*/ 411 h 421"/>
                <a:gd name="T48" fmla="*/ 9 w 436"/>
                <a:gd name="T49" fmla="*/ 358 h 421"/>
                <a:gd name="T50" fmla="*/ 63 w 436"/>
                <a:gd name="T51" fmla="*/ 121 h 421"/>
                <a:gd name="T52" fmla="*/ 427 w 436"/>
                <a:gd name="T53" fmla="*/ 175 h 421"/>
                <a:gd name="T54" fmla="*/ 393 w 436"/>
                <a:gd name="T55" fmla="*/ 249 h 421"/>
                <a:gd name="T56" fmla="*/ 393 w 436"/>
                <a:gd name="T57" fmla="*/ 296 h 421"/>
                <a:gd name="T58" fmla="*/ 393 w 436"/>
                <a:gd name="T59" fmla="*/ 249 h 421"/>
                <a:gd name="T60" fmla="*/ 379 w 436"/>
                <a:gd name="T61" fmla="*/ 273 h 421"/>
                <a:gd name="T62" fmla="*/ 408 w 436"/>
                <a:gd name="T63" fmla="*/ 273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6" h="421">
                  <a:moveTo>
                    <a:pt x="321" y="141"/>
                  </a:moveTo>
                  <a:cubicBezTo>
                    <a:pt x="68" y="141"/>
                    <a:pt x="68" y="141"/>
                    <a:pt x="68" y="141"/>
                  </a:cubicBezTo>
                  <a:cubicBezTo>
                    <a:pt x="47" y="141"/>
                    <a:pt x="29" y="158"/>
                    <a:pt x="29" y="180"/>
                  </a:cubicBezTo>
                  <a:cubicBezTo>
                    <a:pt x="29" y="353"/>
                    <a:pt x="29" y="353"/>
                    <a:pt x="29" y="353"/>
                  </a:cubicBezTo>
                  <a:cubicBezTo>
                    <a:pt x="29" y="375"/>
                    <a:pt x="47" y="392"/>
                    <a:pt x="68" y="392"/>
                  </a:cubicBezTo>
                  <a:cubicBezTo>
                    <a:pt x="321" y="392"/>
                    <a:pt x="321" y="392"/>
                    <a:pt x="321" y="392"/>
                  </a:cubicBezTo>
                  <a:cubicBezTo>
                    <a:pt x="342" y="392"/>
                    <a:pt x="360" y="375"/>
                    <a:pt x="360" y="353"/>
                  </a:cubicBezTo>
                  <a:cubicBezTo>
                    <a:pt x="360" y="180"/>
                    <a:pt x="360" y="180"/>
                    <a:pt x="360" y="180"/>
                  </a:cubicBezTo>
                  <a:cubicBezTo>
                    <a:pt x="360" y="158"/>
                    <a:pt x="342" y="141"/>
                    <a:pt x="321" y="141"/>
                  </a:cubicBezTo>
                  <a:close/>
                  <a:moveTo>
                    <a:pt x="351" y="353"/>
                  </a:moveTo>
                  <a:cubicBezTo>
                    <a:pt x="351" y="369"/>
                    <a:pt x="337" y="383"/>
                    <a:pt x="321" y="383"/>
                  </a:cubicBezTo>
                  <a:cubicBezTo>
                    <a:pt x="68" y="383"/>
                    <a:pt x="68" y="383"/>
                    <a:pt x="68" y="383"/>
                  </a:cubicBezTo>
                  <a:cubicBezTo>
                    <a:pt x="52" y="383"/>
                    <a:pt x="38" y="369"/>
                    <a:pt x="38" y="353"/>
                  </a:cubicBezTo>
                  <a:cubicBezTo>
                    <a:pt x="38" y="180"/>
                    <a:pt x="38" y="180"/>
                    <a:pt x="38" y="180"/>
                  </a:cubicBezTo>
                  <a:cubicBezTo>
                    <a:pt x="38" y="163"/>
                    <a:pt x="52" y="150"/>
                    <a:pt x="68" y="150"/>
                  </a:cubicBezTo>
                  <a:cubicBezTo>
                    <a:pt x="321" y="150"/>
                    <a:pt x="321" y="150"/>
                    <a:pt x="321" y="150"/>
                  </a:cubicBezTo>
                  <a:cubicBezTo>
                    <a:pt x="337" y="150"/>
                    <a:pt x="351" y="163"/>
                    <a:pt x="351" y="180"/>
                  </a:cubicBezTo>
                  <a:lnTo>
                    <a:pt x="351" y="353"/>
                  </a:lnTo>
                  <a:close/>
                  <a:moveTo>
                    <a:pt x="393" y="180"/>
                  </a:moveTo>
                  <a:cubicBezTo>
                    <a:pt x="380" y="180"/>
                    <a:pt x="370" y="190"/>
                    <a:pt x="370" y="203"/>
                  </a:cubicBezTo>
                  <a:cubicBezTo>
                    <a:pt x="370" y="216"/>
                    <a:pt x="380" y="227"/>
                    <a:pt x="393" y="227"/>
                  </a:cubicBezTo>
                  <a:cubicBezTo>
                    <a:pt x="406" y="227"/>
                    <a:pt x="417" y="216"/>
                    <a:pt x="417" y="203"/>
                  </a:cubicBezTo>
                  <a:cubicBezTo>
                    <a:pt x="417" y="190"/>
                    <a:pt x="406" y="180"/>
                    <a:pt x="393" y="180"/>
                  </a:cubicBezTo>
                  <a:close/>
                  <a:moveTo>
                    <a:pt x="393" y="217"/>
                  </a:moveTo>
                  <a:cubicBezTo>
                    <a:pt x="386" y="217"/>
                    <a:pt x="379" y="211"/>
                    <a:pt x="379" y="203"/>
                  </a:cubicBezTo>
                  <a:cubicBezTo>
                    <a:pt x="379" y="195"/>
                    <a:pt x="386" y="189"/>
                    <a:pt x="393" y="189"/>
                  </a:cubicBezTo>
                  <a:cubicBezTo>
                    <a:pt x="401" y="189"/>
                    <a:pt x="408" y="195"/>
                    <a:pt x="408" y="203"/>
                  </a:cubicBezTo>
                  <a:cubicBezTo>
                    <a:pt x="408" y="211"/>
                    <a:pt x="401" y="217"/>
                    <a:pt x="393" y="217"/>
                  </a:cubicBezTo>
                  <a:close/>
                  <a:moveTo>
                    <a:pt x="373" y="112"/>
                  </a:moveTo>
                  <a:cubicBezTo>
                    <a:pt x="231" y="112"/>
                    <a:pt x="231" y="112"/>
                    <a:pt x="231" y="112"/>
                  </a:cubicBezTo>
                  <a:cubicBezTo>
                    <a:pt x="338" y="8"/>
                    <a:pt x="338" y="8"/>
                    <a:pt x="338" y="8"/>
                  </a:cubicBezTo>
                  <a:cubicBezTo>
                    <a:pt x="340" y="6"/>
                    <a:pt x="340" y="4"/>
                    <a:pt x="338" y="2"/>
                  </a:cubicBezTo>
                  <a:cubicBezTo>
                    <a:pt x="336" y="0"/>
                    <a:pt x="333" y="0"/>
                    <a:pt x="331" y="2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59" y="58"/>
                    <a:pt x="156" y="58"/>
                    <a:pt x="154" y="60"/>
                  </a:cubicBezTo>
                  <a:cubicBezTo>
                    <a:pt x="152" y="62"/>
                    <a:pt x="152" y="65"/>
                    <a:pt x="154" y="66"/>
                  </a:cubicBezTo>
                  <a:cubicBezTo>
                    <a:pt x="207" y="112"/>
                    <a:pt x="207" y="112"/>
                    <a:pt x="207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28" y="112"/>
                    <a:pt x="0" y="140"/>
                    <a:pt x="0" y="175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92"/>
                    <a:pt x="28" y="421"/>
                    <a:pt x="63" y="421"/>
                  </a:cubicBezTo>
                  <a:cubicBezTo>
                    <a:pt x="373" y="421"/>
                    <a:pt x="373" y="421"/>
                    <a:pt x="373" y="421"/>
                  </a:cubicBezTo>
                  <a:cubicBezTo>
                    <a:pt x="408" y="421"/>
                    <a:pt x="436" y="392"/>
                    <a:pt x="436" y="358"/>
                  </a:cubicBezTo>
                  <a:cubicBezTo>
                    <a:pt x="436" y="175"/>
                    <a:pt x="436" y="175"/>
                    <a:pt x="436" y="175"/>
                  </a:cubicBezTo>
                  <a:cubicBezTo>
                    <a:pt x="436" y="140"/>
                    <a:pt x="408" y="112"/>
                    <a:pt x="373" y="112"/>
                  </a:cubicBezTo>
                  <a:close/>
                  <a:moveTo>
                    <a:pt x="427" y="358"/>
                  </a:moveTo>
                  <a:cubicBezTo>
                    <a:pt x="427" y="387"/>
                    <a:pt x="403" y="411"/>
                    <a:pt x="373" y="411"/>
                  </a:cubicBezTo>
                  <a:cubicBezTo>
                    <a:pt x="63" y="411"/>
                    <a:pt x="63" y="411"/>
                    <a:pt x="63" y="411"/>
                  </a:cubicBezTo>
                  <a:cubicBezTo>
                    <a:pt x="33" y="411"/>
                    <a:pt x="9" y="387"/>
                    <a:pt x="9" y="358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9" y="146"/>
                    <a:pt x="33" y="121"/>
                    <a:pt x="63" y="121"/>
                  </a:cubicBezTo>
                  <a:cubicBezTo>
                    <a:pt x="373" y="121"/>
                    <a:pt x="373" y="121"/>
                    <a:pt x="373" y="121"/>
                  </a:cubicBezTo>
                  <a:cubicBezTo>
                    <a:pt x="403" y="121"/>
                    <a:pt x="427" y="146"/>
                    <a:pt x="427" y="175"/>
                  </a:cubicBezTo>
                  <a:lnTo>
                    <a:pt x="427" y="358"/>
                  </a:lnTo>
                  <a:close/>
                  <a:moveTo>
                    <a:pt x="393" y="249"/>
                  </a:moveTo>
                  <a:cubicBezTo>
                    <a:pt x="380" y="249"/>
                    <a:pt x="370" y="260"/>
                    <a:pt x="370" y="273"/>
                  </a:cubicBezTo>
                  <a:cubicBezTo>
                    <a:pt x="370" y="286"/>
                    <a:pt x="380" y="296"/>
                    <a:pt x="393" y="296"/>
                  </a:cubicBezTo>
                  <a:cubicBezTo>
                    <a:pt x="406" y="296"/>
                    <a:pt x="417" y="286"/>
                    <a:pt x="417" y="273"/>
                  </a:cubicBezTo>
                  <a:cubicBezTo>
                    <a:pt x="417" y="260"/>
                    <a:pt x="406" y="249"/>
                    <a:pt x="393" y="249"/>
                  </a:cubicBezTo>
                  <a:close/>
                  <a:moveTo>
                    <a:pt x="393" y="287"/>
                  </a:moveTo>
                  <a:cubicBezTo>
                    <a:pt x="386" y="287"/>
                    <a:pt x="379" y="281"/>
                    <a:pt x="379" y="273"/>
                  </a:cubicBezTo>
                  <a:cubicBezTo>
                    <a:pt x="379" y="265"/>
                    <a:pt x="386" y="259"/>
                    <a:pt x="393" y="259"/>
                  </a:cubicBezTo>
                  <a:cubicBezTo>
                    <a:pt x="401" y="259"/>
                    <a:pt x="408" y="265"/>
                    <a:pt x="408" y="273"/>
                  </a:cubicBezTo>
                  <a:cubicBezTo>
                    <a:pt x="408" y="281"/>
                    <a:pt x="401" y="287"/>
                    <a:pt x="393" y="2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2622336-ACE2-69B2-001F-4C6E63145DC4}"/>
              </a:ext>
            </a:extLst>
          </p:cNvPr>
          <p:cNvGrpSpPr/>
          <p:nvPr/>
        </p:nvGrpSpPr>
        <p:grpSpPr>
          <a:xfrm>
            <a:off x="5652146" y="4038078"/>
            <a:ext cx="360000" cy="360000"/>
            <a:chOff x="4736477" y="4619663"/>
            <a:chExt cx="1097280" cy="1097280"/>
          </a:xfrm>
        </p:grpSpPr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2A374CF3-C309-EAF1-006C-E8310F166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477" y="4619663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6">
              <a:extLst>
                <a:ext uri="{FF2B5EF4-FFF2-40B4-BE49-F238E27FC236}">
                  <a16:creationId xmlns:a16="http://schemas.microsoft.com/office/drawing/2014/main" id="{2E4288B8-9CAF-A823-C44F-AD66D74AE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5837" y="4825322"/>
              <a:ext cx="638560" cy="665788"/>
            </a:xfrm>
            <a:custGeom>
              <a:avLst/>
              <a:gdLst>
                <a:gd name="T0" fmla="*/ 352 w 415"/>
                <a:gd name="T1" fmla="*/ 109 h 433"/>
                <a:gd name="T2" fmla="*/ 248 w 415"/>
                <a:gd name="T3" fmla="*/ 0 h 433"/>
                <a:gd name="T4" fmla="*/ 160 w 415"/>
                <a:gd name="T5" fmla="*/ 50 h 433"/>
                <a:gd name="T6" fmla="*/ 137 w 415"/>
                <a:gd name="T7" fmla="*/ 46 h 433"/>
                <a:gd name="T8" fmla="*/ 71 w 415"/>
                <a:gd name="T9" fmla="*/ 107 h 433"/>
                <a:gd name="T10" fmla="*/ 0 w 415"/>
                <a:gd name="T11" fmla="*/ 186 h 433"/>
                <a:gd name="T12" fmla="*/ 76 w 415"/>
                <a:gd name="T13" fmla="*/ 265 h 433"/>
                <a:gd name="T14" fmla="*/ 162 w 415"/>
                <a:gd name="T15" fmla="*/ 265 h 433"/>
                <a:gd name="T16" fmla="*/ 162 w 415"/>
                <a:gd name="T17" fmla="*/ 296 h 433"/>
                <a:gd name="T18" fmla="*/ 127 w 415"/>
                <a:gd name="T19" fmla="*/ 296 h 433"/>
                <a:gd name="T20" fmla="*/ 108 w 415"/>
                <a:gd name="T21" fmla="*/ 306 h 433"/>
                <a:gd name="T22" fmla="*/ 111 w 415"/>
                <a:gd name="T23" fmla="*/ 327 h 433"/>
                <a:gd name="T24" fmla="*/ 186 w 415"/>
                <a:gd name="T25" fmla="*/ 424 h 433"/>
                <a:gd name="T26" fmla="*/ 207 w 415"/>
                <a:gd name="T27" fmla="*/ 433 h 433"/>
                <a:gd name="T28" fmla="*/ 228 w 415"/>
                <a:gd name="T29" fmla="*/ 424 h 433"/>
                <a:gd name="T30" fmla="*/ 304 w 415"/>
                <a:gd name="T31" fmla="*/ 327 h 433"/>
                <a:gd name="T32" fmla="*/ 307 w 415"/>
                <a:gd name="T33" fmla="*/ 306 h 433"/>
                <a:gd name="T34" fmla="*/ 288 w 415"/>
                <a:gd name="T35" fmla="*/ 296 h 433"/>
                <a:gd name="T36" fmla="*/ 253 w 415"/>
                <a:gd name="T37" fmla="*/ 296 h 433"/>
                <a:gd name="T38" fmla="*/ 253 w 415"/>
                <a:gd name="T39" fmla="*/ 265 h 433"/>
                <a:gd name="T40" fmla="*/ 344 w 415"/>
                <a:gd name="T41" fmla="*/ 265 h 433"/>
                <a:gd name="T42" fmla="*/ 415 w 415"/>
                <a:gd name="T43" fmla="*/ 186 h 433"/>
                <a:gd name="T44" fmla="*/ 352 w 415"/>
                <a:gd name="T45" fmla="*/ 109 h 433"/>
                <a:gd name="T46" fmla="*/ 343 w 415"/>
                <a:gd name="T47" fmla="*/ 257 h 433"/>
                <a:gd name="T48" fmla="*/ 249 w 415"/>
                <a:gd name="T49" fmla="*/ 257 h 433"/>
                <a:gd name="T50" fmla="*/ 245 w 415"/>
                <a:gd name="T51" fmla="*/ 261 h 433"/>
                <a:gd name="T52" fmla="*/ 245 w 415"/>
                <a:gd name="T53" fmla="*/ 300 h 433"/>
                <a:gd name="T54" fmla="*/ 249 w 415"/>
                <a:gd name="T55" fmla="*/ 304 h 433"/>
                <a:gd name="T56" fmla="*/ 288 w 415"/>
                <a:gd name="T57" fmla="*/ 304 h 433"/>
                <a:gd name="T58" fmla="*/ 300 w 415"/>
                <a:gd name="T59" fmla="*/ 310 h 433"/>
                <a:gd name="T60" fmla="*/ 298 w 415"/>
                <a:gd name="T61" fmla="*/ 322 h 433"/>
                <a:gd name="T62" fmla="*/ 221 w 415"/>
                <a:gd name="T63" fmla="*/ 419 h 433"/>
                <a:gd name="T64" fmla="*/ 207 w 415"/>
                <a:gd name="T65" fmla="*/ 425 h 433"/>
                <a:gd name="T66" fmla="*/ 193 w 415"/>
                <a:gd name="T67" fmla="*/ 419 h 433"/>
                <a:gd name="T68" fmla="*/ 118 w 415"/>
                <a:gd name="T69" fmla="*/ 323 h 433"/>
                <a:gd name="T70" fmla="*/ 115 w 415"/>
                <a:gd name="T71" fmla="*/ 309 h 433"/>
                <a:gd name="T72" fmla="*/ 127 w 415"/>
                <a:gd name="T73" fmla="*/ 304 h 433"/>
                <a:gd name="T74" fmla="*/ 166 w 415"/>
                <a:gd name="T75" fmla="*/ 304 h 433"/>
                <a:gd name="T76" fmla="*/ 170 w 415"/>
                <a:gd name="T77" fmla="*/ 300 h 433"/>
                <a:gd name="T78" fmla="*/ 170 w 415"/>
                <a:gd name="T79" fmla="*/ 261 h 433"/>
                <a:gd name="T80" fmla="*/ 166 w 415"/>
                <a:gd name="T81" fmla="*/ 257 h 433"/>
                <a:gd name="T82" fmla="*/ 76 w 415"/>
                <a:gd name="T83" fmla="*/ 257 h 433"/>
                <a:gd name="T84" fmla="*/ 8 w 415"/>
                <a:gd name="T85" fmla="*/ 186 h 433"/>
                <a:gd name="T86" fmla="*/ 75 w 415"/>
                <a:gd name="T87" fmla="*/ 114 h 433"/>
                <a:gd name="T88" fmla="*/ 79 w 415"/>
                <a:gd name="T89" fmla="*/ 110 h 433"/>
                <a:gd name="T90" fmla="*/ 137 w 415"/>
                <a:gd name="T91" fmla="*/ 54 h 433"/>
                <a:gd name="T92" fmla="*/ 161 w 415"/>
                <a:gd name="T93" fmla="*/ 59 h 433"/>
                <a:gd name="T94" fmla="*/ 166 w 415"/>
                <a:gd name="T95" fmla="*/ 57 h 433"/>
                <a:gd name="T96" fmla="*/ 248 w 415"/>
                <a:gd name="T97" fmla="*/ 9 h 433"/>
                <a:gd name="T98" fmla="*/ 344 w 415"/>
                <a:gd name="T99" fmla="*/ 112 h 433"/>
                <a:gd name="T100" fmla="*/ 348 w 415"/>
                <a:gd name="T101" fmla="*/ 116 h 433"/>
                <a:gd name="T102" fmla="*/ 407 w 415"/>
                <a:gd name="T103" fmla="*/ 186 h 433"/>
                <a:gd name="T104" fmla="*/ 343 w 415"/>
                <a:gd name="T105" fmla="*/ 25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5" h="433">
                  <a:moveTo>
                    <a:pt x="352" y="109"/>
                  </a:moveTo>
                  <a:cubicBezTo>
                    <a:pt x="349" y="49"/>
                    <a:pt x="303" y="0"/>
                    <a:pt x="248" y="0"/>
                  </a:cubicBezTo>
                  <a:cubicBezTo>
                    <a:pt x="212" y="0"/>
                    <a:pt x="181" y="18"/>
                    <a:pt x="160" y="50"/>
                  </a:cubicBezTo>
                  <a:cubicBezTo>
                    <a:pt x="153" y="47"/>
                    <a:pt x="145" y="46"/>
                    <a:pt x="137" y="46"/>
                  </a:cubicBezTo>
                  <a:cubicBezTo>
                    <a:pt x="101" y="46"/>
                    <a:pt x="73" y="72"/>
                    <a:pt x="71" y="107"/>
                  </a:cubicBezTo>
                  <a:cubicBezTo>
                    <a:pt x="32" y="110"/>
                    <a:pt x="0" y="145"/>
                    <a:pt x="0" y="186"/>
                  </a:cubicBezTo>
                  <a:cubicBezTo>
                    <a:pt x="0" y="231"/>
                    <a:pt x="34" y="265"/>
                    <a:pt x="76" y="265"/>
                  </a:cubicBezTo>
                  <a:cubicBezTo>
                    <a:pt x="162" y="265"/>
                    <a:pt x="162" y="265"/>
                    <a:pt x="162" y="265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27" y="296"/>
                    <a:pt x="127" y="296"/>
                    <a:pt x="127" y="296"/>
                  </a:cubicBezTo>
                  <a:cubicBezTo>
                    <a:pt x="115" y="296"/>
                    <a:pt x="110" y="302"/>
                    <a:pt x="108" y="306"/>
                  </a:cubicBezTo>
                  <a:cubicBezTo>
                    <a:pt x="105" y="312"/>
                    <a:pt x="106" y="321"/>
                    <a:pt x="111" y="327"/>
                  </a:cubicBezTo>
                  <a:cubicBezTo>
                    <a:pt x="186" y="424"/>
                    <a:pt x="186" y="424"/>
                    <a:pt x="186" y="424"/>
                  </a:cubicBezTo>
                  <a:cubicBezTo>
                    <a:pt x="191" y="430"/>
                    <a:pt x="199" y="433"/>
                    <a:pt x="207" y="433"/>
                  </a:cubicBezTo>
                  <a:cubicBezTo>
                    <a:pt x="216" y="433"/>
                    <a:pt x="223" y="430"/>
                    <a:pt x="228" y="424"/>
                  </a:cubicBezTo>
                  <a:cubicBezTo>
                    <a:pt x="304" y="327"/>
                    <a:pt x="304" y="327"/>
                    <a:pt x="304" y="327"/>
                  </a:cubicBezTo>
                  <a:cubicBezTo>
                    <a:pt x="309" y="321"/>
                    <a:pt x="310" y="313"/>
                    <a:pt x="307" y="306"/>
                  </a:cubicBezTo>
                  <a:cubicBezTo>
                    <a:pt x="305" y="302"/>
                    <a:pt x="300" y="296"/>
                    <a:pt x="288" y="296"/>
                  </a:cubicBezTo>
                  <a:cubicBezTo>
                    <a:pt x="253" y="296"/>
                    <a:pt x="253" y="296"/>
                    <a:pt x="253" y="296"/>
                  </a:cubicBezTo>
                  <a:cubicBezTo>
                    <a:pt x="253" y="265"/>
                    <a:pt x="253" y="265"/>
                    <a:pt x="253" y="265"/>
                  </a:cubicBezTo>
                  <a:cubicBezTo>
                    <a:pt x="344" y="265"/>
                    <a:pt x="344" y="265"/>
                    <a:pt x="344" y="265"/>
                  </a:cubicBezTo>
                  <a:cubicBezTo>
                    <a:pt x="383" y="264"/>
                    <a:pt x="415" y="228"/>
                    <a:pt x="415" y="186"/>
                  </a:cubicBezTo>
                  <a:cubicBezTo>
                    <a:pt x="415" y="147"/>
                    <a:pt x="389" y="115"/>
                    <a:pt x="352" y="109"/>
                  </a:cubicBezTo>
                  <a:close/>
                  <a:moveTo>
                    <a:pt x="343" y="257"/>
                  </a:moveTo>
                  <a:cubicBezTo>
                    <a:pt x="249" y="257"/>
                    <a:pt x="249" y="257"/>
                    <a:pt x="249" y="257"/>
                  </a:cubicBezTo>
                  <a:cubicBezTo>
                    <a:pt x="246" y="257"/>
                    <a:pt x="245" y="259"/>
                    <a:pt x="245" y="261"/>
                  </a:cubicBezTo>
                  <a:cubicBezTo>
                    <a:pt x="245" y="300"/>
                    <a:pt x="245" y="300"/>
                    <a:pt x="245" y="300"/>
                  </a:cubicBezTo>
                  <a:cubicBezTo>
                    <a:pt x="245" y="302"/>
                    <a:pt x="246" y="304"/>
                    <a:pt x="249" y="304"/>
                  </a:cubicBezTo>
                  <a:cubicBezTo>
                    <a:pt x="288" y="304"/>
                    <a:pt x="288" y="304"/>
                    <a:pt x="288" y="304"/>
                  </a:cubicBezTo>
                  <a:cubicBezTo>
                    <a:pt x="294" y="304"/>
                    <a:pt x="298" y="306"/>
                    <a:pt x="300" y="310"/>
                  </a:cubicBezTo>
                  <a:cubicBezTo>
                    <a:pt x="301" y="313"/>
                    <a:pt x="301" y="319"/>
                    <a:pt x="298" y="322"/>
                  </a:cubicBezTo>
                  <a:cubicBezTo>
                    <a:pt x="221" y="419"/>
                    <a:pt x="221" y="419"/>
                    <a:pt x="221" y="419"/>
                  </a:cubicBezTo>
                  <a:cubicBezTo>
                    <a:pt x="218" y="423"/>
                    <a:pt x="213" y="425"/>
                    <a:pt x="207" y="425"/>
                  </a:cubicBezTo>
                  <a:cubicBezTo>
                    <a:pt x="201" y="425"/>
                    <a:pt x="196" y="423"/>
                    <a:pt x="193" y="419"/>
                  </a:cubicBezTo>
                  <a:cubicBezTo>
                    <a:pt x="118" y="323"/>
                    <a:pt x="118" y="323"/>
                    <a:pt x="118" y="323"/>
                  </a:cubicBezTo>
                  <a:cubicBezTo>
                    <a:pt x="114" y="318"/>
                    <a:pt x="113" y="313"/>
                    <a:pt x="115" y="309"/>
                  </a:cubicBezTo>
                  <a:cubicBezTo>
                    <a:pt x="117" y="305"/>
                    <a:pt x="123" y="304"/>
                    <a:pt x="127" y="304"/>
                  </a:cubicBezTo>
                  <a:cubicBezTo>
                    <a:pt x="166" y="304"/>
                    <a:pt x="166" y="304"/>
                    <a:pt x="166" y="304"/>
                  </a:cubicBezTo>
                  <a:cubicBezTo>
                    <a:pt x="168" y="304"/>
                    <a:pt x="170" y="302"/>
                    <a:pt x="170" y="300"/>
                  </a:cubicBezTo>
                  <a:cubicBezTo>
                    <a:pt x="170" y="261"/>
                    <a:pt x="170" y="261"/>
                    <a:pt x="170" y="261"/>
                  </a:cubicBezTo>
                  <a:cubicBezTo>
                    <a:pt x="170" y="259"/>
                    <a:pt x="168" y="257"/>
                    <a:pt x="166" y="257"/>
                  </a:cubicBezTo>
                  <a:cubicBezTo>
                    <a:pt x="76" y="257"/>
                    <a:pt x="76" y="257"/>
                    <a:pt x="76" y="257"/>
                  </a:cubicBezTo>
                  <a:cubicBezTo>
                    <a:pt x="38" y="257"/>
                    <a:pt x="8" y="226"/>
                    <a:pt x="8" y="186"/>
                  </a:cubicBezTo>
                  <a:cubicBezTo>
                    <a:pt x="8" y="148"/>
                    <a:pt x="38" y="116"/>
                    <a:pt x="75" y="114"/>
                  </a:cubicBezTo>
                  <a:cubicBezTo>
                    <a:pt x="77" y="114"/>
                    <a:pt x="79" y="112"/>
                    <a:pt x="79" y="110"/>
                  </a:cubicBezTo>
                  <a:cubicBezTo>
                    <a:pt x="79" y="79"/>
                    <a:pt x="104" y="54"/>
                    <a:pt x="137" y="54"/>
                  </a:cubicBezTo>
                  <a:cubicBezTo>
                    <a:pt x="145" y="54"/>
                    <a:pt x="153" y="55"/>
                    <a:pt x="161" y="59"/>
                  </a:cubicBezTo>
                  <a:cubicBezTo>
                    <a:pt x="162" y="59"/>
                    <a:pt x="164" y="59"/>
                    <a:pt x="166" y="57"/>
                  </a:cubicBezTo>
                  <a:cubicBezTo>
                    <a:pt x="184" y="26"/>
                    <a:pt x="214" y="9"/>
                    <a:pt x="248" y="9"/>
                  </a:cubicBezTo>
                  <a:cubicBezTo>
                    <a:pt x="299" y="9"/>
                    <a:pt x="343" y="55"/>
                    <a:pt x="344" y="112"/>
                  </a:cubicBezTo>
                  <a:cubicBezTo>
                    <a:pt x="345" y="114"/>
                    <a:pt x="346" y="116"/>
                    <a:pt x="348" y="116"/>
                  </a:cubicBezTo>
                  <a:cubicBezTo>
                    <a:pt x="382" y="121"/>
                    <a:pt x="407" y="150"/>
                    <a:pt x="407" y="186"/>
                  </a:cubicBezTo>
                  <a:cubicBezTo>
                    <a:pt x="407" y="224"/>
                    <a:pt x="378" y="256"/>
                    <a:pt x="343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FE93A35-FC7A-D010-555C-3A78ACAD3EBE}"/>
              </a:ext>
            </a:extLst>
          </p:cNvPr>
          <p:cNvGrpSpPr/>
          <p:nvPr/>
        </p:nvGrpSpPr>
        <p:grpSpPr>
          <a:xfrm>
            <a:off x="5670146" y="4552459"/>
            <a:ext cx="324000" cy="360000"/>
            <a:chOff x="6460135" y="3059188"/>
            <a:chExt cx="1097280" cy="1097280"/>
          </a:xfrm>
        </p:grpSpPr>
        <p:sp>
          <p:nvSpPr>
            <p:cNvPr id="27" name="Oval 66">
              <a:extLst>
                <a:ext uri="{FF2B5EF4-FFF2-40B4-BE49-F238E27FC236}">
                  <a16:creationId xmlns:a16="http://schemas.microsoft.com/office/drawing/2014/main" id="{30044CB0-A354-312D-A722-DF60FA804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0135" y="3059188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0">
              <a:extLst>
                <a:ext uri="{FF2B5EF4-FFF2-40B4-BE49-F238E27FC236}">
                  <a16:creationId xmlns:a16="http://schemas.microsoft.com/office/drawing/2014/main" id="{8490560C-7CF0-055C-4F69-E8413CDEDA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0873" y="3198885"/>
              <a:ext cx="815804" cy="819079"/>
            </a:xfrm>
            <a:custGeom>
              <a:avLst/>
              <a:gdLst>
                <a:gd name="T0" fmla="*/ 418 w 791"/>
                <a:gd name="T1" fmla="*/ 262 h 792"/>
                <a:gd name="T2" fmla="*/ 402 w 791"/>
                <a:gd name="T3" fmla="*/ 292 h 792"/>
                <a:gd name="T4" fmla="*/ 527 w 791"/>
                <a:gd name="T5" fmla="*/ 280 h 792"/>
                <a:gd name="T6" fmla="*/ 370 w 791"/>
                <a:gd name="T7" fmla="*/ 236 h 792"/>
                <a:gd name="T8" fmla="*/ 453 w 791"/>
                <a:gd name="T9" fmla="*/ 288 h 792"/>
                <a:gd name="T10" fmla="*/ 494 w 791"/>
                <a:gd name="T11" fmla="*/ 281 h 792"/>
                <a:gd name="T12" fmla="*/ 757 w 791"/>
                <a:gd name="T13" fmla="*/ 235 h 792"/>
                <a:gd name="T14" fmla="*/ 467 w 791"/>
                <a:gd name="T15" fmla="*/ 7 h 792"/>
                <a:gd name="T16" fmla="*/ 395 w 791"/>
                <a:gd name="T17" fmla="*/ 0 h 792"/>
                <a:gd name="T18" fmla="*/ 225 w 791"/>
                <a:gd name="T19" fmla="*/ 39 h 792"/>
                <a:gd name="T20" fmla="*/ 15 w 791"/>
                <a:gd name="T21" fmla="*/ 285 h 792"/>
                <a:gd name="T22" fmla="*/ 2 w 791"/>
                <a:gd name="T23" fmla="*/ 350 h 792"/>
                <a:gd name="T24" fmla="*/ 0 w 791"/>
                <a:gd name="T25" fmla="*/ 419 h 792"/>
                <a:gd name="T26" fmla="*/ 167 w 791"/>
                <a:gd name="T27" fmla="*/ 719 h 792"/>
                <a:gd name="T28" fmla="*/ 71 w 791"/>
                <a:gd name="T29" fmla="*/ 597 h 792"/>
                <a:gd name="T30" fmla="*/ 14 w 791"/>
                <a:gd name="T31" fmla="*/ 382 h 792"/>
                <a:gd name="T32" fmla="*/ 18 w 791"/>
                <a:gd name="T33" fmla="*/ 336 h 792"/>
                <a:gd name="T34" fmla="*/ 122 w 791"/>
                <a:gd name="T35" fmla="*/ 524 h 792"/>
                <a:gd name="T36" fmla="*/ 117 w 791"/>
                <a:gd name="T37" fmla="*/ 177 h 792"/>
                <a:gd name="T38" fmla="*/ 101 w 791"/>
                <a:gd name="T39" fmla="*/ 153 h 792"/>
                <a:gd name="T40" fmla="*/ 198 w 791"/>
                <a:gd name="T41" fmla="*/ 69 h 792"/>
                <a:gd name="T42" fmla="*/ 248 w 791"/>
                <a:gd name="T43" fmla="*/ 68 h 792"/>
                <a:gd name="T44" fmla="*/ 221 w 791"/>
                <a:gd name="T45" fmla="*/ 77 h 792"/>
                <a:gd name="T46" fmla="*/ 443 w 791"/>
                <a:gd name="T47" fmla="*/ 17 h 792"/>
                <a:gd name="T48" fmla="*/ 300 w 791"/>
                <a:gd name="T49" fmla="*/ 86 h 792"/>
                <a:gd name="T50" fmla="*/ 263 w 791"/>
                <a:gd name="T51" fmla="*/ 64 h 792"/>
                <a:gd name="T52" fmla="*/ 757 w 791"/>
                <a:gd name="T53" fmla="*/ 519 h 792"/>
                <a:gd name="T54" fmla="*/ 732 w 791"/>
                <a:gd name="T55" fmla="*/ 273 h 792"/>
                <a:gd name="T56" fmla="*/ 725 w 791"/>
                <a:gd name="T57" fmla="*/ 259 h 792"/>
                <a:gd name="T58" fmla="*/ 642 w 791"/>
                <a:gd name="T59" fmla="*/ 315 h 792"/>
                <a:gd name="T60" fmla="*/ 602 w 791"/>
                <a:gd name="T61" fmla="*/ 392 h 792"/>
                <a:gd name="T62" fmla="*/ 591 w 791"/>
                <a:gd name="T63" fmla="*/ 419 h 792"/>
                <a:gd name="T64" fmla="*/ 454 w 791"/>
                <a:gd name="T65" fmla="*/ 677 h 792"/>
                <a:gd name="T66" fmla="*/ 323 w 791"/>
                <a:gd name="T67" fmla="*/ 460 h 792"/>
                <a:gd name="T68" fmla="*/ 310 w 791"/>
                <a:gd name="T69" fmla="*/ 240 h 792"/>
                <a:gd name="T70" fmla="*/ 434 w 791"/>
                <a:gd name="T71" fmla="*/ 180 h 792"/>
                <a:gd name="T72" fmla="*/ 400 w 791"/>
                <a:gd name="T73" fmla="*/ 104 h 792"/>
                <a:gd name="T74" fmla="*/ 79 w 791"/>
                <a:gd name="T75" fmla="*/ 444 h 792"/>
                <a:gd name="T76" fmla="*/ 322 w 791"/>
                <a:gd name="T77" fmla="*/ 97 h 792"/>
                <a:gd name="T78" fmla="*/ 305 w 791"/>
                <a:gd name="T79" fmla="*/ 115 h 792"/>
                <a:gd name="T80" fmla="*/ 479 w 791"/>
                <a:gd name="T81" fmla="*/ 76 h 792"/>
                <a:gd name="T82" fmla="*/ 327 w 791"/>
                <a:gd name="T83" fmla="*/ 122 h 792"/>
                <a:gd name="T84" fmla="*/ 381 w 791"/>
                <a:gd name="T85" fmla="*/ 164 h 792"/>
                <a:gd name="T86" fmla="*/ 337 w 791"/>
                <a:gd name="T87" fmla="*/ 189 h 792"/>
                <a:gd name="T88" fmla="*/ 255 w 791"/>
                <a:gd name="T89" fmla="*/ 144 h 792"/>
                <a:gd name="T90" fmla="*/ 360 w 791"/>
                <a:gd name="T91" fmla="*/ 168 h 792"/>
                <a:gd name="T92" fmla="*/ 330 w 791"/>
                <a:gd name="T93" fmla="*/ 176 h 792"/>
                <a:gd name="T94" fmla="*/ 229 w 791"/>
                <a:gd name="T95" fmla="*/ 389 h 792"/>
                <a:gd name="T96" fmla="*/ 325 w 791"/>
                <a:gd name="T97" fmla="*/ 474 h 792"/>
                <a:gd name="T98" fmla="*/ 402 w 791"/>
                <a:gd name="T99" fmla="*/ 567 h 792"/>
                <a:gd name="T100" fmla="*/ 423 w 791"/>
                <a:gd name="T101" fmla="*/ 165 h 792"/>
                <a:gd name="T102" fmla="*/ 240 w 791"/>
                <a:gd name="T103" fmla="*/ 648 h 792"/>
                <a:gd name="T104" fmla="*/ 220 w 791"/>
                <a:gd name="T105" fmla="*/ 533 h 792"/>
                <a:gd name="T106" fmla="*/ 458 w 791"/>
                <a:gd name="T107" fmla="*/ 691 h 792"/>
                <a:gd name="T108" fmla="*/ 536 w 791"/>
                <a:gd name="T109" fmla="*/ 648 h 792"/>
                <a:gd name="T110" fmla="*/ 570 w 791"/>
                <a:gd name="T111" fmla="*/ 592 h 792"/>
                <a:gd name="T112" fmla="*/ 669 w 791"/>
                <a:gd name="T113" fmla="*/ 662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1" h="792">
                  <a:moveTo>
                    <a:pt x="495" y="267"/>
                  </a:moveTo>
                  <a:cubicBezTo>
                    <a:pt x="495" y="267"/>
                    <a:pt x="495" y="267"/>
                    <a:pt x="494" y="267"/>
                  </a:cubicBezTo>
                  <a:cubicBezTo>
                    <a:pt x="489" y="267"/>
                    <a:pt x="472" y="265"/>
                    <a:pt x="463" y="264"/>
                  </a:cubicBezTo>
                  <a:cubicBezTo>
                    <a:pt x="453" y="252"/>
                    <a:pt x="430" y="223"/>
                    <a:pt x="413" y="223"/>
                  </a:cubicBezTo>
                  <a:cubicBezTo>
                    <a:pt x="413" y="223"/>
                    <a:pt x="412" y="223"/>
                    <a:pt x="411" y="223"/>
                  </a:cubicBezTo>
                  <a:cubicBezTo>
                    <a:pt x="404" y="224"/>
                    <a:pt x="402" y="228"/>
                    <a:pt x="402" y="230"/>
                  </a:cubicBezTo>
                  <a:cubicBezTo>
                    <a:pt x="400" y="238"/>
                    <a:pt x="407" y="244"/>
                    <a:pt x="417" y="252"/>
                  </a:cubicBezTo>
                  <a:cubicBezTo>
                    <a:pt x="419" y="254"/>
                    <a:pt x="422" y="256"/>
                    <a:pt x="424" y="258"/>
                  </a:cubicBezTo>
                  <a:cubicBezTo>
                    <a:pt x="423" y="259"/>
                    <a:pt x="420" y="261"/>
                    <a:pt x="418" y="262"/>
                  </a:cubicBezTo>
                  <a:cubicBezTo>
                    <a:pt x="413" y="249"/>
                    <a:pt x="392" y="233"/>
                    <a:pt x="379" y="224"/>
                  </a:cubicBezTo>
                  <a:cubicBezTo>
                    <a:pt x="376" y="223"/>
                    <a:pt x="373" y="222"/>
                    <a:pt x="370" y="222"/>
                  </a:cubicBezTo>
                  <a:cubicBezTo>
                    <a:pt x="351" y="222"/>
                    <a:pt x="330" y="258"/>
                    <a:pt x="324" y="269"/>
                  </a:cubicBezTo>
                  <a:cubicBezTo>
                    <a:pt x="323" y="270"/>
                    <a:pt x="323" y="272"/>
                    <a:pt x="323" y="273"/>
                  </a:cubicBezTo>
                  <a:cubicBezTo>
                    <a:pt x="323" y="278"/>
                    <a:pt x="327" y="290"/>
                    <a:pt x="346" y="290"/>
                  </a:cubicBezTo>
                  <a:cubicBezTo>
                    <a:pt x="361" y="290"/>
                    <a:pt x="381" y="283"/>
                    <a:pt x="391" y="279"/>
                  </a:cubicBezTo>
                  <a:cubicBezTo>
                    <a:pt x="391" y="279"/>
                    <a:pt x="391" y="279"/>
                    <a:pt x="391" y="279"/>
                  </a:cubicBezTo>
                  <a:cubicBezTo>
                    <a:pt x="391" y="279"/>
                    <a:pt x="392" y="279"/>
                    <a:pt x="392" y="279"/>
                  </a:cubicBezTo>
                  <a:cubicBezTo>
                    <a:pt x="394" y="279"/>
                    <a:pt x="399" y="287"/>
                    <a:pt x="402" y="292"/>
                  </a:cubicBezTo>
                  <a:cubicBezTo>
                    <a:pt x="407" y="301"/>
                    <a:pt x="412" y="310"/>
                    <a:pt x="421" y="315"/>
                  </a:cubicBezTo>
                  <a:cubicBezTo>
                    <a:pt x="424" y="317"/>
                    <a:pt x="428" y="318"/>
                    <a:pt x="432" y="318"/>
                  </a:cubicBezTo>
                  <a:cubicBezTo>
                    <a:pt x="432" y="318"/>
                    <a:pt x="432" y="318"/>
                    <a:pt x="432" y="318"/>
                  </a:cubicBezTo>
                  <a:cubicBezTo>
                    <a:pt x="445" y="318"/>
                    <a:pt x="455" y="308"/>
                    <a:pt x="463" y="299"/>
                  </a:cubicBezTo>
                  <a:cubicBezTo>
                    <a:pt x="465" y="300"/>
                    <a:pt x="468" y="301"/>
                    <a:pt x="471" y="302"/>
                  </a:cubicBezTo>
                  <a:cubicBezTo>
                    <a:pt x="480" y="306"/>
                    <a:pt x="492" y="310"/>
                    <a:pt x="503" y="310"/>
                  </a:cubicBezTo>
                  <a:cubicBezTo>
                    <a:pt x="503" y="310"/>
                    <a:pt x="503" y="310"/>
                    <a:pt x="503" y="310"/>
                  </a:cubicBezTo>
                  <a:cubicBezTo>
                    <a:pt x="514" y="310"/>
                    <a:pt x="521" y="305"/>
                    <a:pt x="524" y="300"/>
                  </a:cubicBezTo>
                  <a:cubicBezTo>
                    <a:pt x="531" y="291"/>
                    <a:pt x="529" y="284"/>
                    <a:pt x="527" y="280"/>
                  </a:cubicBezTo>
                  <a:cubicBezTo>
                    <a:pt x="521" y="267"/>
                    <a:pt x="498" y="266"/>
                    <a:pt x="497" y="266"/>
                  </a:cubicBezTo>
                  <a:cubicBezTo>
                    <a:pt x="496" y="266"/>
                    <a:pt x="495" y="267"/>
                    <a:pt x="495" y="267"/>
                  </a:cubicBezTo>
                  <a:close/>
                  <a:moveTo>
                    <a:pt x="403" y="269"/>
                  </a:moveTo>
                  <a:cubicBezTo>
                    <a:pt x="400" y="267"/>
                    <a:pt x="396" y="265"/>
                    <a:pt x="392" y="265"/>
                  </a:cubicBezTo>
                  <a:cubicBezTo>
                    <a:pt x="390" y="265"/>
                    <a:pt x="388" y="265"/>
                    <a:pt x="387" y="266"/>
                  </a:cubicBezTo>
                  <a:cubicBezTo>
                    <a:pt x="386" y="266"/>
                    <a:pt x="386" y="266"/>
                    <a:pt x="386" y="266"/>
                  </a:cubicBezTo>
                  <a:cubicBezTo>
                    <a:pt x="377" y="269"/>
                    <a:pt x="358" y="276"/>
                    <a:pt x="346" y="276"/>
                  </a:cubicBezTo>
                  <a:cubicBezTo>
                    <a:pt x="340" y="276"/>
                    <a:pt x="338" y="274"/>
                    <a:pt x="337" y="273"/>
                  </a:cubicBezTo>
                  <a:cubicBezTo>
                    <a:pt x="348" y="255"/>
                    <a:pt x="363" y="236"/>
                    <a:pt x="370" y="236"/>
                  </a:cubicBezTo>
                  <a:cubicBezTo>
                    <a:pt x="370" y="236"/>
                    <a:pt x="371" y="236"/>
                    <a:pt x="371" y="236"/>
                  </a:cubicBezTo>
                  <a:cubicBezTo>
                    <a:pt x="391" y="250"/>
                    <a:pt x="403" y="262"/>
                    <a:pt x="405" y="267"/>
                  </a:cubicBezTo>
                  <a:cubicBezTo>
                    <a:pt x="404" y="268"/>
                    <a:pt x="404" y="268"/>
                    <a:pt x="403" y="269"/>
                  </a:cubicBezTo>
                  <a:close/>
                  <a:moveTo>
                    <a:pt x="515" y="286"/>
                  </a:moveTo>
                  <a:cubicBezTo>
                    <a:pt x="515" y="287"/>
                    <a:pt x="515" y="289"/>
                    <a:pt x="513" y="292"/>
                  </a:cubicBezTo>
                  <a:cubicBezTo>
                    <a:pt x="511" y="294"/>
                    <a:pt x="509" y="296"/>
                    <a:pt x="503" y="296"/>
                  </a:cubicBezTo>
                  <a:cubicBezTo>
                    <a:pt x="494" y="296"/>
                    <a:pt x="484" y="292"/>
                    <a:pt x="476" y="289"/>
                  </a:cubicBezTo>
                  <a:cubicBezTo>
                    <a:pt x="469" y="286"/>
                    <a:pt x="465" y="285"/>
                    <a:pt x="461" y="285"/>
                  </a:cubicBezTo>
                  <a:cubicBezTo>
                    <a:pt x="456" y="285"/>
                    <a:pt x="454" y="287"/>
                    <a:pt x="453" y="288"/>
                  </a:cubicBezTo>
                  <a:cubicBezTo>
                    <a:pt x="446" y="298"/>
                    <a:pt x="438" y="304"/>
                    <a:pt x="432" y="304"/>
                  </a:cubicBezTo>
                  <a:cubicBezTo>
                    <a:pt x="431" y="304"/>
                    <a:pt x="429" y="304"/>
                    <a:pt x="428" y="303"/>
                  </a:cubicBezTo>
                  <a:cubicBezTo>
                    <a:pt x="422" y="300"/>
                    <a:pt x="418" y="292"/>
                    <a:pt x="414" y="285"/>
                  </a:cubicBezTo>
                  <a:cubicBezTo>
                    <a:pt x="413" y="284"/>
                    <a:pt x="412" y="282"/>
                    <a:pt x="411" y="281"/>
                  </a:cubicBezTo>
                  <a:cubicBezTo>
                    <a:pt x="418" y="279"/>
                    <a:pt x="432" y="271"/>
                    <a:pt x="436" y="266"/>
                  </a:cubicBezTo>
                  <a:cubicBezTo>
                    <a:pt x="438" y="263"/>
                    <a:pt x="440" y="261"/>
                    <a:pt x="439" y="258"/>
                  </a:cubicBezTo>
                  <a:cubicBezTo>
                    <a:pt x="444" y="263"/>
                    <a:pt x="449" y="269"/>
                    <a:pt x="453" y="275"/>
                  </a:cubicBezTo>
                  <a:cubicBezTo>
                    <a:pt x="454" y="276"/>
                    <a:pt x="456" y="277"/>
                    <a:pt x="458" y="278"/>
                  </a:cubicBezTo>
                  <a:cubicBezTo>
                    <a:pt x="459" y="278"/>
                    <a:pt x="487" y="281"/>
                    <a:pt x="494" y="281"/>
                  </a:cubicBezTo>
                  <a:cubicBezTo>
                    <a:pt x="496" y="281"/>
                    <a:pt x="496" y="281"/>
                    <a:pt x="497" y="280"/>
                  </a:cubicBezTo>
                  <a:cubicBezTo>
                    <a:pt x="497" y="280"/>
                    <a:pt x="497" y="280"/>
                    <a:pt x="497" y="280"/>
                  </a:cubicBezTo>
                  <a:cubicBezTo>
                    <a:pt x="504" y="280"/>
                    <a:pt x="513" y="283"/>
                    <a:pt x="515" y="286"/>
                  </a:cubicBezTo>
                  <a:close/>
                  <a:moveTo>
                    <a:pt x="691" y="658"/>
                  </a:moveTo>
                  <a:cubicBezTo>
                    <a:pt x="724" y="621"/>
                    <a:pt x="751" y="577"/>
                    <a:pt x="768" y="529"/>
                  </a:cubicBezTo>
                  <a:cubicBezTo>
                    <a:pt x="768" y="528"/>
                    <a:pt x="769" y="527"/>
                    <a:pt x="769" y="527"/>
                  </a:cubicBezTo>
                  <a:cubicBezTo>
                    <a:pt x="783" y="486"/>
                    <a:pt x="791" y="442"/>
                    <a:pt x="791" y="396"/>
                  </a:cubicBezTo>
                  <a:cubicBezTo>
                    <a:pt x="791" y="339"/>
                    <a:pt x="779" y="285"/>
                    <a:pt x="757" y="236"/>
                  </a:cubicBezTo>
                  <a:cubicBezTo>
                    <a:pt x="757" y="236"/>
                    <a:pt x="757" y="235"/>
                    <a:pt x="757" y="235"/>
                  </a:cubicBezTo>
                  <a:cubicBezTo>
                    <a:pt x="709" y="128"/>
                    <a:pt x="616" y="48"/>
                    <a:pt x="505" y="16"/>
                  </a:cubicBezTo>
                  <a:cubicBezTo>
                    <a:pt x="504" y="16"/>
                    <a:pt x="504" y="15"/>
                    <a:pt x="503" y="15"/>
                  </a:cubicBezTo>
                  <a:cubicBezTo>
                    <a:pt x="501" y="15"/>
                    <a:pt x="498" y="14"/>
                    <a:pt x="496" y="13"/>
                  </a:cubicBezTo>
                  <a:cubicBezTo>
                    <a:pt x="495" y="13"/>
                    <a:pt x="494" y="13"/>
                    <a:pt x="493" y="12"/>
                  </a:cubicBezTo>
                  <a:cubicBezTo>
                    <a:pt x="490" y="12"/>
                    <a:pt x="488" y="11"/>
                    <a:pt x="486" y="11"/>
                  </a:cubicBezTo>
                  <a:cubicBezTo>
                    <a:pt x="484" y="10"/>
                    <a:pt x="483" y="10"/>
                    <a:pt x="482" y="10"/>
                  </a:cubicBezTo>
                  <a:cubicBezTo>
                    <a:pt x="480" y="10"/>
                    <a:pt x="479" y="9"/>
                    <a:pt x="477" y="9"/>
                  </a:cubicBezTo>
                  <a:cubicBezTo>
                    <a:pt x="477" y="9"/>
                    <a:pt x="477" y="9"/>
                    <a:pt x="477" y="9"/>
                  </a:cubicBezTo>
                  <a:cubicBezTo>
                    <a:pt x="474" y="8"/>
                    <a:pt x="471" y="8"/>
                    <a:pt x="467" y="7"/>
                  </a:cubicBezTo>
                  <a:cubicBezTo>
                    <a:pt x="467" y="7"/>
                    <a:pt x="467" y="7"/>
                    <a:pt x="467" y="7"/>
                  </a:cubicBezTo>
                  <a:cubicBezTo>
                    <a:pt x="467" y="7"/>
                    <a:pt x="466" y="7"/>
                    <a:pt x="466" y="7"/>
                  </a:cubicBezTo>
                  <a:cubicBezTo>
                    <a:pt x="461" y="6"/>
                    <a:pt x="456" y="5"/>
                    <a:pt x="451" y="4"/>
                  </a:cubicBezTo>
                  <a:cubicBezTo>
                    <a:pt x="450" y="4"/>
                    <a:pt x="449" y="4"/>
                    <a:pt x="448" y="4"/>
                  </a:cubicBezTo>
                  <a:cubicBezTo>
                    <a:pt x="443" y="3"/>
                    <a:pt x="438" y="3"/>
                    <a:pt x="432" y="2"/>
                  </a:cubicBezTo>
                  <a:cubicBezTo>
                    <a:pt x="432" y="2"/>
                    <a:pt x="431" y="2"/>
                    <a:pt x="430" y="2"/>
                  </a:cubicBezTo>
                  <a:cubicBezTo>
                    <a:pt x="425" y="1"/>
                    <a:pt x="419" y="1"/>
                    <a:pt x="414" y="1"/>
                  </a:cubicBezTo>
                  <a:cubicBezTo>
                    <a:pt x="413" y="1"/>
                    <a:pt x="413" y="1"/>
                    <a:pt x="412" y="1"/>
                  </a:cubicBezTo>
                  <a:cubicBezTo>
                    <a:pt x="407" y="0"/>
                    <a:pt x="401" y="0"/>
                    <a:pt x="395" y="0"/>
                  </a:cubicBezTo>
                  <a:cubicBezTo>
                    <a:pt x="392" y="0"/>
                    <a:pt x="388" y="0"/>
                    <a:pt x="385" y="0"/>
                  </a:cubicBezTo>
                  <a:cubicBezTo>
                    <a:pt x="383" y="1"/>
                    <a:pt x="381" y="1"/>
                    <a:pt x="379" y="1"/>
                  </a:cubicBezTo>
                  <a:cubicBezTo>
                    <a:pt x="378" y="1"/>
                    <a:pt x="376" y="1"/>
                    <a:pt x="374" y="1"/>
                  </a:cubicBezTo>
                  <a:cubicBezTo>
                    <a:pt x="372" y="1"/>
                    <a:pt x="369" y="1"/>
                    <a:pt x="367" y="1"/>
                  </a:cubicBezTo>
                  <a:cubicBezTo>
                    <a:pt x="366" y="1"/>
                    <a:pt x="365" y="1"/>
                    <a:pt x="364" y="2"/>
                  </a:cubicBezTo>
                  <a:cubicBezTo>
                    <a:pt x="361" y="2"/>
                    <a:pt x="358" y="2"/>
                    <a:pt x="355" y="2"/>
                  </a:cubicBezTo>
                  <a:cubicBezTo>
                    <a:pt x="355" y="2"/>
                    <a:pt x="355" y="2"/>
                    <a:pt x="355" y="2"/>
                  </a:cubicBezTo>
                  <a:cubicBezTo>
                    <a:pt x="310" y="7"/>
                    <a:pt x="267" y="19"/>
                    <a:pt x="226" y="38"/>
                  </a:cubicBezTo>
                  <a:cubicBezTo>
                    <a:pt x="226" y="38"/>
                    <a:pt x="226" y="39"/>
                    <a:pt x="225" y="39"/>
                  </a:cubicBezTo>
                  <a:cubicBezTo>
                    <a:pt x="215" y="44"/>
                    <a:pt x="205" y="49"/>
                    <a:pt x="195" y="55"/>
                  </a:cubicBezTo>
                  <a:cubicBezTo>
                    <a:pt x="195" y="55"/>
                    <a:pt x="195" y="55"/>
                    <a:pt x="194" y="55"/>
                  </a:cubicBezTo>
                  <a:cubicBezTo>
                    <a:pt x="140" y="87"/>
                    <a:pt x="93" y="133"/>
                    <a:pt x="59" y="187"/>
                  </a:cubicBezTo>
                  <a:cubicBezTo>
                    <a:pt x="59" y="187"/>
                    <a:pt x="59" y="187"/>
                    <a:pt x="59" y="188"/>
                  </a:cubicBezTo>
                  <a:cubicBezTo>
                    <a:pt x="44" y="211"/>
                    <a:pt x="32" y="237"/>
                    <a:pt x="23" y="263"/>
                  </a:cubicBezTo>
                  <a:cubicBezTo>
                    <a:pt x="22" y="264"/>
                    <a:pt x="22" y="264"/>
                    <a:pt x="22" y="265"/>
                  </a:cubicBezTo>
                  <a:cubicBezTo>
                    <a:pt x="20" y="270"/>
                    <a:pt x="19" y="275"/>
                    <a:pt x="17" y="280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6" y="282"/>
                    <a:pt x="16" y="284"/>
                    <a:pt x="15" y="285"/>
                  </a:cubicBezTo>
                  <a:cubicBezTo>
                    <a:pt x="15" y="287"/>
                    <a:pt x="15" y="288"/>
                    <a:pt x="14" y="290"/>
                  </a:cubicBezTo>
                  <a:cubicBezTo>
                    <a:pt x="13" y="292"/>
                    <a:pt x="13" y="294"/>
                    <a:pt x="12" y="297"/>
                  </a:cubicBezTo>
                  <a:cubicBezTo>
                    <a:pt x="11" y="300"/>
                    <a:pt x="11" y="303"/>
                    <a:pt x="10" y="307"/>
                  </a:cubicBezTo>
                  <a:cubicBezTo>
                    <a:pt x="9" y="309"/>
                    <a:pt x="9" y="310"/>
                    <a:pt x="9" y="312"/>
                  </a:cubicBezTo>
                  <a:cubicBezTo>
                    <a:pt x="8" y="315"/>
                    <a:pt x="8" y="317"/>
                    <a:pt x="7" y="320"/>
                  </a:cubicBezTo>
                  <a:cubicBezTo>
                    <a:pt x="7" y="321"/>
                    <a:pt x="6" y="323"/>
                    <a:pt x="6" y="325"/>
                  </a:cubicBezTo>
                  <a:cubicBezTo>
                    <a:pt x="5" y="328"/>
                    <a:pt x="5" y="332"/>
                    <a:pt x="4" y="336"/>
                  </a:cubicBezTo>
                  <a:cubicBezTo>
                    <a:pt x="4" y="337"/>
                    <a:pt x="4" y="338"/>
                    <a:pt x="4" y="340"/>
                  </a:cubicBezTo>
                  <a:cubicBezTo>
                    <a:pt x="3" y="343"/>
                    <a:pt x="3" y="346"/>
                    <a:pt x="2" y="350"/>
                  </a:cubicBezTo>
                  <a:cubicBezTo>
                    <a:pt x="2" y="351"/>
                    <a:pt x="2" y="352"/>
                    <a:pt x="2" y="353"/>
                  </a:cubicBezTo>
                  <a:cubicBezTo>
                    <a:pt x="1" y="358"/>
                    <a:pt x="1" y="362"/>
                    <a:pt x="1" y="366"/>
                  </a:cubicBezTo>
                  <a:cubicBezTo>
                    <a:pt x="1" y="367"/>
                    <a:pt x="1" y="367"/>
                    <a:pt x="1" y="368"/>
                  </a:cubicBezTo>
                  <a:cubicBezTo>
                    <a:pt x="0" y="372"/>
                    <a:pt x="0" y="375"/>
                    <a:pt x="0" y="379"/>
                  </a:cubicBezTo>
                  <a:cubicBezTo>
                    <a:pt x="0" y="380"/>
                    <a:pt x="0" y="382"/>
                    <a:pt x="0" y="383"/>
                  </a:cubicBezTo>
                  <a:cubicBezTo>
                    <a:pt x="0" y="387"/>
                    <a:pt x="0" y="392"/>
                    <a:pt x="0" y="396"/>
                  </a:cubicBezTo>
                  <a:cubicBezTo>
                    <a:pt x="0" y="400"/>
                    <a:pt x="0" y="404"/>
                    <a:pt x="0" y="407"/>
                  </a:cubicBezTo>
                  <a:cubicBezTo>
                    <a:pt x="0" y="408"/>
                    <a:pt x="0" y="409"/>
                    <a:pt x="0" y="410"/>
                  </a:cubicBezTo>
                  <a:cubicBezTo>
                    <a:pt x="0" y="413"/>
                    <a:pt x="0" y="416"/>
                    <a:pt x="0" y="419"/>
                  </a:cubicBezTo>
                  <a:cubicBezTo>
                    <a:pt x="0" y="420"/>
                    <a:pt x="0" y="420"/>
                    <a:pt x="0" y="421"/>
                  </a:cubicBezTo>
                  <a:cubicBezTo>
                    <a:pt x="1" y="425"/>
                    <a:pt x="1" y="428"/>
                    <a:pt x="1" y="431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7" y="492"/>
                    <a:pt x="26" y="548"/>
                    <a:pt x="55" y="598"/>
                  </a:cubicBezTo>
                  <a:cubicBezTo>
                    <a:pt x="55" y="598"/>
                    <a:pt x="55" y="598"/>
                    <a:pt x="55" y="598"/>
                  </a:cubicBezTo>
                  <a:cubicBezTo>
                    <a:pt x="57" y="601"/>
                    <a:pt x="59" y="604"/>
                    <a:pt x="60" y="606"/>
                  </a:cubicBezTo>
                  <a:cubicBezTo>
                    <a:pt x="61" y="607"/>
                    <a:pt x="61" y="608"/>
                    <a:pt x="62" y="609"/>
                  </a:cubicBezTo>
                  <a:cubicBezTo>
                    <a:pt x="63" y="610"/>
                    <a:pt x="64" y="611"/>
                    <a:pt x="64" y="613"/>
                  </a:cubicBezTo>
                  <a:cubicBezTo>
                    <a:pt x="91" y="654"/>
                    <a:pt x="126" y="690"/>
                    <a:pt x="167" y="719"/>
                  </a:cubicBezTo>
                  <a:cubicBezTo>
                    <a:pt x="167" y="719"/>
                    <a:pt x="167" y="719"/>
                    <a:pt x="168" y="719"/>
                  </a:cubicBezTo>
                  <a:cubicBezTo>
                    <a:pt x="232" y="765"/>
                    <a:pt x="311" y="792"/>
                    <a:pt x="395" y="792"/>
                  </a:cubicBezTo>
                  <a:cubicBezTo>
                    <a:pt x="512" y="792"/>
                    <a:pt x="616" y="741"/>
                    <a:pt x="689" y="661"/>
                  </a:cubicBezTo>
                  <a:cubicBezTo>
                    <a:pt x="690" y="660"/>
                    <a:pt x="691" y="659"/>
                    <a:pt x="691" y="658"/>
                  </a:cubicBezTo>
                  <a:close/>
                  <a:moveTo>
                    <a:pt x="79" y="610"/>
                  </a:moveTo>
                  <a:cubicBezTo>
                    <a:pt x="79" y="610"/>
                    <a:pt x="79" y="609"/>
                    <a:pt x="79" y="609"/>
                  </a:cubicBezTo>
                  <a:cubicBezTo>
                    <a:pt x="77" y="607"/>
                    <a:pt x="76" y="605"/>
                    <a:pt x="75" y="604"/>
                  </a:cubicBezTo>
                  <a:cubicBezTo>
                    <a:pt x="74" y="602"/>
                    <a:pt x="73" y="601"/>
                    <a:pt x="73" y="600"/>
                  </a:cubicBezTo>
                  <a:cubicBezTo>
                    <a:pt x="72" y="599"/>
                    <a:pt x="71" y="598"/>
                    <a:pt x="71" y="597"/>
                  </a:cubicBezTo>
                  <a:cubicBezTo>
                    <a:pt x="69" y="594"/>
                    <a:pt x="68" y="592"/>
                    <a:pt x="67" y="590"/>
                  </a:cubicBezTo>
                  <a:cubicBezTo>
                    <a:pt x="67" y="590"/>
                    <a:pt x="66" y="589"/>
                    <a:pt x="66" y="589"/>
                  </a:cubicBezTo>
                  <a:cubicBezTo>
                    <a:pt x="36" y="537"/>
                    <a:pt x="18" y="478"/>
                    <a:pt x="14" y="417"/>
                  </a:cubicBezTo>
                  <a:cubicBezTo>
                    <a:pt x="14" y="417"/>
                    <a:pt x="14" y="417"/>
                    <a:pt x="14" y="417"/>
                  </a:cubicBezTo>
                  <a:cubicBezTo>
                    <a:pt x="14" y="414"/>
                    <a:pt x="14" y="411"/>
                    <a:pt x="14" y="407"/>
                  </a:cubicBezTo>
                  <a:cubicBezTo>
                    <a:pt x="14" y="407"/>
                    <a:pt x="14" y="407"/>
                    <a:pt x="14" y="406"/>
                  </a:cubicBezTo>
                  <a:cubicBezTo>
                    <a:pt x="14" y="403"/>
                    <a:pt x="14" y="399"/>
                    <a:pt x="14" y="396"/>
                  </a:cubicBezTo>
                  <a:cubicBezTo>
                    <a:pt x="14" y="393"/>
                    <a:pt x="14" y="389"/>
                    <a:pt x="14" y="386"/>
                  </a:cubicBezTo>
                  <a:cubicBezTo>
                    <a:pt x="14" y="385"/>
                    <a:pt x="14" y="384"/>
                    <a:pt x="14" y="382"/>
                  </a:cubicBezTo>
                  <a:cubicBezTo>
                    <a:pt x="14" y="380"/>
                    <a:pt x="14" y="378"/>
                    <a:pt x="14" y="376"/>
                  </a:cubicBezTo>
                  <a:cubicBezTo>
                    <a:pt x="14" y="374"/>
                    <a:pt x="14" y="373"/>
                    <a:pt x="14" y="371"/>
                  </a:cubicBezTo>
                  <a:cubicBezTo>
                    <a:pt x="15" y="370"/>
                    <a:pt x="15" y="368"/>
                    <a:pt x="15" y="366"/>
                  </a:cubicBezTo>
                  <a:cubicBezTo>
                    <a:pt x="15" y="364"/>
                    <a:pt x="15" y="362"/>
                    <a:pt x="15" y="361"/>
                  </a:cubicBezTo>
                  <a:cubicBezTo>
                    <a:pt x="15" y="359"/>
                    <a:pt x="16" y="357"/>
                    <a:pt x="16" y="356"/>
                  </a:cubicBezTo>
                  <a:cubicBezTo>
                    <a:pt x="16" y="354"/>
                    <a:pt x="16" y="352"/>
                    <a:pt x="16" y="351"/>
                  </a:cubicBezTo>
                  <a:cubicBezTo>
                    <a:pt x="17" y="349"/>
                    <a:pt x="17" y="347"/>
                    <a:pt x="17" y="346"/>
                  </a:cubicBezTo>
                  <a:cubicBezTo>
                    <a:pt x="17" y="344"/>
                    <a:pt x="17" y="342"/>
                    <a:pt x="18" y="340"/>
                  </a:cubicBezTo>
                  <a:cubicBezTo>
                    <a:pt x="18" y="339"/>
                    <a:pt x="18" y="338"/>
                    <a:pt x="18" y="336"/>
                  </a:cubicBezTo>
                  <a:cubicBezTo>
                    <a:pt x="19" y="334"/>
                    <a:pt x="19" y="332"/>
                    <a:pt x="19" y="330"/>
                  </a:cubicBezTo>
                  <a:cubicBezTo>
                    <a:pt x="19" y="329"/>
                    <a:pt x="20" y="328"/>
                    <a:pt x="20" y="327"/>
                  </a:cubicBezTo>
                  <a:cubicBezTo>
                    <a:pt x="20" y="325"/>
                    <a:pt x="21" y="322"/>
                    <a:pt x="21" y="320"/>
                  </a:cubicBezTo>
                  <a:cubicBezTo>
                    <a:pt x="21" y="319"/>
                    <a:pt x="22" y="319"/>
                    <a:pt x="22" y="318"/>
                  </a:cubicBezTo>
                  <a:cubicBezTo>
                    <a:pt x="22" y="316"/>
                    <a:pt x="22" y="315"/>
                    <a:pt x="23" y="313"/>
                  </a:cubicBezTo>
                  <a:cubicBezTo>
                    <a:pt x="34" y="366"/>
                    <a:pt x="49" y="425"/>
                    <a:pt x="67" y="452"/>
                  </a:cubicBezTo>
                  <a:cubicBezTo>
                    <a:pt x="85" y="479"/>
                    <a:pt x="102" y="487"/>
                    <a:pt x="113" y="492"/>
                  </a:cubicBezTo>
                  <a:cubicBezTo>
                    <a:pt x="123" y="497"/>
                    <a:pt x="125" y="498"/>
                    <a:pt x="124" y="509"/>
                  </a:cubicBezTo>
                  <a:cubicBezTo>
                    <a:pt x="124" y="513"/>
                    <a:pt x="123" y="518"/>
                    <a:pt x="122" y="524"/>
                  </a:cubicBezTo>
                  <a:cubicBezTo>
                    <a:pt x="122" y="524"/>
                    <a:pt x="122" y="524"/>
                    <a:pt x="122" y="524"/>
                  </a:cubicBezTo>
                  <a:cubicBezTo>
                    <a:pt x="121" y="525"/>
                    <a:pt x="121" y="527"/>
                    <a:pt x="121" y="528"/>
                  </a:cubicBezTo>
                  <a:cubicBezTo>
                    <a:pt x="115" y="555"/>
                    <a:pt x="107" y="595"/>
                    <a:pt x="129" y="652"/>
                  </a:cubicBezTo>
                  <a:cubicBezTo>
                    <a:pt x="129" y="653"/>
                    <a:pt x="129" y="654"/>
                    <a:pt x="129" y="655"/>
                  </a:cubicBezTo>
                  <a:cubicBezTo>
                    <a:pt x="129" y="658"/>
                    <a:pt x="131" y="661"/>
                    <a:pt x="133" y="662"/>
                  </a:cubicBezTo>
                  <a:cubicBezTo>
                    <a:pt x="136" y="668"/>
                    <a:pt x="139" y="675"/>
                    <a:pt x="143" y="682"/>
                  </a:cubicBezTo>
                  <a:cubicBezTo>
                    <a:pt x="119" y="661"/>
                    <a:pt x="98" y="637"/>
                    <a:pt x="79" y="610"/>
                  </a:cubicBezTo>
                  <a:close/>
                  <a:moveTo>
                    <a:pt x="70" y="196"/>
                  </a:moveTo>
                  <a:cubicBezTo>
                    <a:pt x="90" y="190"/>
                    <a:pt x="105" y="184"/>
                    <a:pt x="117" y="177"/>
                  </a:cubicBezTo>
                  <a:cubicBezTo>
                    <a:pt x="124" y="172"/>
                    <a:pt x="133" y="168"/>
                    <a:pt x="142" y="164"/>
                  </a:cubicBezTo>
                  <a:cubicBezTo>
                    <a:pt x="155" y="158"/>
                    <a:pt x="168" y="152"/>
                    <a:pt x="180" y="144"/>
                  </a:cubicBezTo>
                  <a:cubicBezTo>
                    <a:pt x="181" y="144"/>
                    <a:pt x="181" y="144"/>
                    <a:pt x="182" y="144"/>
                  </a:cubicBezTo>
                  <a:cubicBezTo>
                    <a:pt x="240" y="144"/>
                    <a:pt x="240" y="144"/>
                    <a:pt x="240" y="144"/>
                  </a:cubicBezTo>
                  <a:cubicBezTo>
                    <a:pt x="225" y="178"/>
                    <a:pt x="214" y="218"/>
                    <a:pt x="206" y="259"/>
                  </a:cubicBezTo>
                  <a:cubicBezTo>
                    <a:pt x="39" y="259"/>
                    <a:pt x="39" y="259"/>
                    <a:pt x="39" y="259"/>
                  </a:cubicBezTo>
                  <a:cubicBezTo>
                    <a:pt x="47" y="237"/>
                    <a:pt x="58" y="216"/>
                    <a:pt x="70" y="196"/>
                  </a:cubicBezTo>
                  <a:close/>
                  <a:moveTo>
                    <a:pt x="101" y="154"/>
                  </a:moveTo>
                  <a:cubicBezTo>
                    <a:pt x="101" y="154"/>
                    <a:pt x="101" y="153"/>
                    <a:pt x="101" y="153"/>
                  </a:cubicBezTo>
                  <a:cubicBezTo>
                    <a:pt x="105" y="149"/>
                    <a:pt x="109" y="144"/>
                    <a:pt x="112" y="140"/>
                  </a:cubicBezTo>
                  <a:cubicBezTo>
                    <a:pt x="113" y="140"/>
                    <a:pt x="113" y="139"/>
                    <a:pt x="114" y="139"/>
                  </a:cubicBezTo>
                  <a:cubicBezTo>
                    <a:pt x="117" y="135"/>
                    <a:pt x="121" y="130"/>
                    <a:pt x="125" y="126"/>
                  </a:cubicBezTo>
                  <a:cubicBezTo>
                    <a:pt x="126" y="126"/>
                    <a:pt x="126" y="126"/>
                    <a:pt x="126" y="126"/>
                  </a:cubicBezTo>
                  <a:cubicBezTo>
                    <a:pt x="141" y="111"/>
                    <a:pt x="157" y="97"/>
                    <a:pt x="174" y="85"/>
                  </a:cubicBezTo>
                  <a:cubicBezTo>
                    <a:pt x="174" y="85"/>
                    <a:pt x="174" y="85"/>
                    <a:pt x="175" y="85"/>
                  </a:cubicBezTo>
                  <a:cubicBezTo>
                    <a:pt x="179" y="81"/>
                    <a:pt x="184" y="78"/>
                    <a:pt x="189" y="75"/>
                  </a:cubicBezTo>
                  <a:cubicBezTo>
                    <a:pt x="189" y="75"/>
                    <a:pt x="190" y="74"/>
                    <a:pt x="190" y="74"/>
                  </a:cubicBezTo>
                  <a:cubicBezTo>
                    <a:pt x="193" y="72"/>
                    <a:pt x="196" y="71"/>
                    <a:pt x="198" y="69"/>
                  </a:cubicBezTo>
                  <a:cubicBezTo>
                    <a:pt x="203" y="73"/>
                    <a:pt x="206" y="77"/>
                    <a:pt x="208" y="81"/>
                  </a:cubicBezTo>
                  <a:cubicBezTo>
                    <a:pt x="209" y="87"/>
                    <a:pt x="207" y="94"/>
                    <a:pt x="201" y="103"/>
                  </a:cubicBezTo>
                  <a:cubicBezTo>
                    <a:pt x="183" y="130"/>
                    <a:pt x="159" y="141"/>
                    <a:pt x="137" y="151"/>
                  </a:cubicBezTo>
                  <a:cubicBezTo>
                    <a:pt x="127" y="155"/>
                    <a:pt x="118" y="160"/>
                    <a:pt x="109" y="165"/>
                  </a:cubicBezTo>
                  <a:cubicBezTo>
                    <a:pt x="103" y="169"/>
                    <a:pt x="93" y="173"/>
                    <a:pt x="83" y="177"/>
                  </a:cubicBezTo>
                  <a:cubicBezTo>
                    <a:pt x="88" y="169"/>
                    <a:pt x="94" y="161"/>
                    <a:pt x="101" y="154"/>
                  </a:cubicBezTo>
                  <a:close/>
                  <a:moveTo>
                    <a:pt x="229" y="52"/>
                  </a:moveTo>
                  <a:cubicBezTo>
                    <a:pt x="244" y="59"/>
                    <a:pt x="249" y="64"/>
                    <a:pt x="249" y="66"/>
                  </a:cubicBezTo>
                  <a:cubicBezTo>
                    <a:pt x="249" y="66"/>
                    <a:pt x="249" y="67"/>
                    <a:pt x="248" y="68"/>
                  </a:cubicBezTo>
                  <a:cubicBezTo>
                    <a:pt x="236" y="77"/>
                    <a:pt x="215" y="101"/>
                    <a:pt x="220" y="116"/>
                  </a:cubicBezTo>
                  <a:cubicBezTo>
                    <a:pt x="221" y="119"/>
                    <a:pt x="224" y="125"/>
                    <a:pt x="234" y="125"/>
                  </a:cubicBezTo>
                  <a:cubicBezTo>
                    <a:pt x="234" y="125"/>
                    <a:pt x="234" y="125"/>
                    <a:pt x="234" y="125"/>
                  </a:cubicBezTo>
                  <a:cubicBezTo>
                    <a:pt x="235" y="125"/>
                    <a:pt x="235" y="125"/>
                    <a:pt x="236" y="125"/>
                  </a:cubicBezTo>
                  <a:cubicBezTo>
                    <a:pt x="241" y="125"/>
                    <a:pt x="245" y="124"/>
                    <a:pt x="250" y="122"/>
                  </a:cubicBezTo>
                  <a:cubicBezTo>
                    <a:pt x="248" y="125"/>
                    <a:pt x="247" y="127"/>
                    <a:pt x="246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202" y="124"/>
                    <a:pt x="208" y="118"/>
                    <a:pt x="213" y="111"/>
                  </a:cubicBezTo>
                  <a:cubicBezTo>
                    <a:pt x="221" y="99"/>
                    <a:pt x="224" y="87"/>
                    <a:pt x="221" y="77"/>
                  </a:cubicBezTo>
                  <a:cubicBezTo>
                    <a:pt x="220" y="72"/>
                    <a:pt x="216" y="66"/>
                    <a:pt x="211" y="62"/>
                  </a:cubicBezTo>
                  <a:cubicBezTo>
                    <a:pt x="217" y="58"/>
                    <a:pt x="223" y="55"/>
                    <a:pt x="229" y="52"/>
                  </a:cubicBezTo>
                  <a:close/>
                  <a:moveTo>
                    <a:pt x="395" y="14"/>
                  </a:moveTo>
                  <a:cubicBezTo>
                    <a:pt x="400" y="14"/>
                    <a:pt x="405" y="14"/>
                    <a:pt x="410" y="15"/>
                  </a:cubicBezTo>
                  <a:cubicBezTo>
                    <a:pt x="411" y="15"/>
                    <a:pt x="412" y="15"/>
                    <a:pt x="412" y="15"/>
                  </a:cubicBezTo>
                  <a:cubicBezTo>
                    <a:pt x="417" y="15"/>
                    <a:pt x="422" y="15"/>
                    <a:pt x="427" y="16"/>
                  </a:cubicBezTo>
                  <a:cubicBezTo>
                    <a:pt x="427" y="16"/>
                    <a:pt x="428" y="16"/>
                    <a:pt x="429" y="16"/>
                  </a:cubicBezTo>
                  <a:cubicBezTo>
                    <a:pt x="433" y="16"/>
                    <a:pt x="438" y="17"/>
                    <a:pt x="443" y="17"/>
                  </a:cubicBezTo>
                  <a:cubicBezTo>
                    <a:pt x="443" y="17"/>
                    <a:pt x="443" y="17"/>
                    <a:pt x="443" y="17"/>
                  </a:cubicBezTo>
                  <a:cubicBezTo>
                    <a:pt x="448" y="18"/>
                    <a:pt x="453" y="19"/>
                    <a:pt x="457" y="19"/>
                  </a:cubicBezTo>
                  <a:cubicBezTo>
                    <a:pt x="458" y="19"/>
                    <a:pt x="459" y="20"/>
                    <a:pt x="459" y="20"/>
                  </a:cubicBezTo>
                  <a:cubicBezTo>
                    <a:pt x="459" y="20"/>
                    <a:pt x="459" y="20"/>
                    <a:pt x="459" y="21"/>
                  </a:cubicBezTo>
                  <a:cubicBezTo>
                    <a:pt x="455" y="27"/>
                    <a:pt x="445" y="32"/>
                    <a:pt x="436" y="35"/>
                  </a:cubicBezTo>
                  <a:cubicBezTo>
                    <a:pt x="427" y="37"/>
                    <a:pt x="412" y="41"/>
                    <a:pt x="391" y="54"/>
                  </a:cubicBezTo>
                  <a:cubicBezTo>
                    <a:pt x="391" y="54"/>
                    <a:pt x="391" y="54"/>
                    <a:pt x="391" y="54"/>
                  </a:cubicBezTo>
                  <a:cubicBezTo>
                    <a:pt x="386" y="57"/>
                    <a:pt x="381" y="61"/>
                    <a:pt x="376" y="65"/>
                  </a:cubicBezTo>
                  <a:cubicBezTo>
                    <a:pt x="358" y="78"/>
                    <a:pt x="340" y="81"/>
                    <a:pt x="320" y="83"/>
                  </a:cubicBezTo>
                  <a:cubicBezTo>
                    <a:pt x="314" y="84"/>
                    <a:pt x="307" y="85"/>
                    <a:pt x="300" y="86"/>
                  </a:cubicBezTo>
                  <a:cubicBezTo>
                    <a:pt x="288" y="89"/>
                    <a:pt x="277" y="94"/>
                    <a:pt x="266" y="100"/>
                  </a:cubicBezTo>
                  <a:cubicBezTo>
                    <a:pt x="265" y="100"/>
                    <a:pt x="263" y="101"/>
                    <a:pt x="261" y="102"/>
                  </a:cubicBezTo>
                  <a:cubicBezTo>
                    <a:pt x="261" y="102"/>
                    <a:pt x="261" y="102"/>
                    <a:pt x="261" y="102"/>
                  </a:cubicBezTo>
                  <a:cubicBezTo>
                    <a:pt x="252" y="106"/>
                    <a:pt x="244" y="110"/>
                    <a:pt x="235" y="111"/>
                  </a:cubicBezTo>
                  <a:cubicBezTo>
                    <a:pt x="235" y="111"/>
                    <a:pt x="234" y="111"/>
                    <a:pt x="234" y="111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34" y="111"/>
                    <a:pt x="233" y="111"/>
                    <a:pt x="233" y="111"/>
                  </a:cubicBezTo>
                  <a:cubicBezTo>
                    <a:pt x="233" y="106"/>
                    <a:pt x="243" y="89"/>
                    <a:pt x="256" y="79"/>
                  </a:cubicBezTo>
                  <a:cubicBezTo>
                    <a:pt x="263" y="74"/>
                    <a:pt x="263" y="68"/>
                    <a:pt x="263" y="64"/>
                  </a:cubicBezTo>
                  <a:cubicBezTo>
                    <a:pt x="263" y="62"/>
                    <a:pt x="262" y="54"/>
                    <a:pt x="246" y="45"/>
                  </a:cubicBezTo>
                  <a:cubicBezTo>
                    <a:pt x="292" y="25"/>
                    <a:pt x="342" y="14"/>
                    <a:pt x="395" y="14"/>
                  </a:cubicBezTo>
                  <a:close/>
                  <a:moveTo>
                    <a:pt x="757" y="519"/>
                  </a:moveTo>
                  <a:cubicBezTo>
                    <a:pt x="583" y="519"/>
                    <a:pt x="583" y="519"/>
                    <a:pt x="583" y="519"/>
                  </a:cubicBezTo>
                  <a:cubicBezTo>
                    <a:pt x="586" y="510"/>
                    <a:pt x="590" y="502"/>
                    <a:pt x="596" y="495"/>
                  </a:cubicBezTo>
                  <a:cubicBezTo>
                    <a:pt x="611" y="476"/>
                    <a:pt x="637" y="413"/>
                    <a:pt x="632" y="403"/>
                  </a:cubicBezTo>
                  <a:cubicBezTo>
                    <a:pt x="632" y="403"/>
                    <a:pt x="632" y="403"/>
                    <a:pt x="632" y="403"/>
                  </a:cubicBezTo>
                  <a:cubicBezTo>
                    <a:pt x="777" y="403"/>
                    <a:pt x="777" y="403"/>
                    <a:pt x="777" y="403"/>
                  </a:cubicBezTo>
                  <a:cubicBezTo>
                    <a:pt x="776" y="443"/>
                    <a:pt x="769" y="482"/>
                    <a:pt x="757" y="519"/>
                  </a:cubicBezTo>
                  <a:close/>
                  <a:moveTo>
                    <a:pt x="652" y="328"/>
                  </a:moveTo>
                  <a:cubicBezTo>
                    <a:pt x="652" y="321"/>
                    <a:pt x="660" y="316"/>
                    <a:pt x="665" y="314"/>
                  </a:cubicBezTo>
                  <a:cubicBezTo>
                    <a:pt x="673" y="332"/>
                    <a:pt x="692" y="376"/>
                    <a:pt x="707" y="389"/>
                  </a:cubicBezTo>
                  <a:cubicBezTo>
                    <a:pt x="621" y="389"/>
                    <a:pt x="621" y="389"/>
                    <a:pt x="621" y="389"/>
                  </a:cubicBezTo>
                  <a:cubicBezTo>
                    <a:pt x="636" y="369"/>
                    <a:pt x="654" y="342"/>
                    <a:pt x="652" y="328"/>
                  </a:cubicBezTo>
                  <a:close/>
                  <a:moveTo>
                    <a:pt x="730" y="389"/>
                  </a:moveTo>
                  <a:cubicBezTo>
                    <a:pt x="735" y="382"/>
                    <a:pt x="734" y="369"/>
                    <a:pt x="733" y="365"/>
                  </a:cubicBezTo>
                  <a:cubicBezTo>
                    <a:pt x="727" y="329"/>
                    <a:pt x="724" y="286"/>
                    <a:pt x="729" y="278"/>
                  </a:cubicBezTo>
                  <a:cubicBezTo>
                    <a:pt x="730" y="276"/>
                    <a:pt x="731" y="275"/>
                    <a:pt x="732" y="273"/>
                  </a:cubicBezTo>
                  <a:cubicBezTo>
                    <a:pt x="757" y="273"/>
                    <a:pt x="757" y="273"/>
                    <a:pt x="757" y="273"/>
                  </a:cubicBezTo>
                  <a:cubicBezTo>
                    <a:pt x="769" y="310"/>
                    <a:pt x="776" y="349"/>
                    <a:pt x="777" y="389"/>
                  </a:cubicBezTo>
                  <a:lnTo>
                    <a:pt x="730" y="389"/>
                  </a:lnTo>
                  <a:close/>
                  <a:moveTo>
                    <a:pt x="752" y="259"/>
                  </a:moveTo>
                  <a:cubicBezTo>
                    <a:pt x="742" y="259"/>
                    <a:pt x="742" y="259"/>
                    <a:pt x="742" y="259"/>
                  </a:cubicBezTo>
                  <a:cubicBezTo>
                    <a:pt x="744" y="257"/>
                    <a:pt x="746" y="254"/>
                    <a:pt x="749" y="252"/>
                  </a:cubicBezTo>
                  <a:cubicBezTo>
                    <a:pt x="750" y="254"/>
                    <a:pt x="751" y="257"/>
                    <a:pt x="752" y="259"/>
                  </a:cubicBezTo>
                  <a:close/>
                  <a:moveTo>
                    <a:pt x="742" y="237"/>
                  </a:moveTo>
                  <a:cubicBezTo>
                    <a:pt x="736" y="244"/>
                    <a:pt x="730" y="252"/>
                    <a:pt x="725" y="259"/>
                  </a:cubicBezTo>
                  <a:cubicBezTo>
                    <a:pt x="723" y="259"/>
                    <a:pt x="723" y="259"/>
                    <a:pt x="723" y="259"/>
                  </a:cubicBezTo>
                  <a:cubicBezTo>
                    <a:pt x="719" y="259"/>
                    <a:pt x="716" y="263"/>
                    <a:pt x="716" y="266"/>
                  </a:cubicBezTo>
                  <a:cubicBezTo>
                    <a:pt x="716" y="268"/>
                    <a:pt x="716" y="269"/>
                    <a:pt x="717" y="270"/>
                  </a:cubicBezTo>
                  <a:cubicBezTo>
                    <a:pt x="706" y="287"/>
                    <a:pt x="717" y="354"/>
                    <a:pt x="719" y="367"/>
                  </a:cubicBezTo>
                  <a:cubicBezTo>
                    <a:pt x="720" y="372"/>
                    <a:pt x="720" y="378"/>
                    <a:pt x="719" y="380"/>
                  </a:cubicBezTo>
                  <a:cubicBezTo>
                    <a:pt x="719" y="380"/>
                    <a:pt x="718" y="380"/>
                    <a:pt x="718" y="379"/>
                  </a:cubicBezTo>
                  <a:cubicBezTo>
                    <a:pt x="708" y="373"/>
                    <a:pt x="687" y="331"/>
                    <a:pt x="676" y="302"/>
                  </a:cubicBezTo>
                  <a:cubicBezTo>
                    <a:pt x="674" y="299"/>
                    <a:pt x="671" y="297"/>
                    <a:pt x="667" y="298"/>
                  </a:cubicBezTo>
                  <a:cubicBezTo>
                    <a:pt x="659" y="300"/>
                    <a:pt x="647" y="306"/>
                    <a:pt x="642" y="315"/>
                  </a:cubicBezTo>
                  <a:cubicBezTo>
                    <a:pt x="629" y="320"/>
                    <a:pt x="629" y="320"/>
                    <a:pt x="629" y="320"/>
                  </a:cubicBezTo>
                  <a:cubicBezTo>
                    <a:pt x="584" y="300"/>
                    <a:pt x="584" y="300"/>
                    <a:pt x="584" y="300"/>
                  </a:cubicBezTo>
                  <a:cubicBezTo>
                    <a:pt x="581" y="299"/>
                    <a:pt x="577" y="300"/>
                    <a:pt x="575" y="304"/>
                  </a:cubicBezTo>
                  <a:cubicBezTo>
                    <a:pt x="573" y="307"/>
                    <a:pt x="575" y="312"/>
                    <a:pt x="579" y="313"/>
                  </a:cubicBezTo>
                  <a:cubicBezTo>
                    <a:pt x="626" y="334"/>
                    <a:pt x="626" y="334"/>
                    <a:pt x="626" y="334"/>
                  </a:cubicBezTo>
                  <a:cubicBezTo>
                    <a:pt x="627" y="334"/>
                    <a:pt x="628" y="334"/>
                    <a:pt x="629" y="334"/>
                  </a:cubicBezTo>
                  <a:cubicBezTo>
                    <a:pt x="630" y="334"/>
                    <a:pt x="630" y="334"/>
                    <a:pt x="631" y="334"/>
                  </a:cubicBezTo>
                  <a:cubicBezTo>
                    <a:pt x="638" y="331"/>
                    <a:pt x="638" y="331"/>
                    <a:pt x="638" y="331"/>
                  </a:cubicBezTo>
                  <a:cubicBezTo>
                    <a:pt x="637" y="342"/>
                    <a:pt x="619" y="368"/>
                    <a:pt x="602" y="392"/>
                  </a:cubicBezTo>
                  <a:cubicBezTo>
                    <a:pt x="602" y="392"/>
                    <a:pt x="602" y="392"/>
                    <a:pt x="601" y="392"/>
                  </a:cubicBezTo>
                  <a:cubicBezTo>
                    <a:pt x="600" y="394"/>
                    <a:pt x="598" y="397"/>
                    <a:pt x="596" y="399"/>
                  </a:cubicBezTo>
                  <a:cubicBezTo>
                    <a:pt x="595" y="400"/>
                    <a:pt x="594" y="402"/>
                    <a:pt x="595" y="404"/>
                  </a:cubicBezTo>
                  <a:cubicBezTo>
                    <a:pt x="592" y="405"/>
                    <a:pt x="589" y="405"/>
                    <a:pt x="587" y="403"/>
                  </a:cubicBezTo>
                  <a:cubicBezTo>
                    <a:pt x="579" y="394"/>
                    <a:pt x="528" y="328"/>
                    <a:pt x="528" y="328"/>
                  </a:cubicBezTo>
                  <a:cubicBezTo>
                    <a:pt x="526" y="325"/>
                    <a:pt x="521" y="324"/>
                    <a:pt x="518" y="327"/>
                  </a:cubicBezTo>
                  <a:cubicBezTo>
                    <a:pt x="515" y="329"/>
                    <a:pt x="515" y="333"/>
                    <a:pt x="517" y="336"/>
                  </a:cubicBezTo>
                  <a:cubicBezTo>
                    <a:pt x="519" y="339"/>
                    <a:pt x="568" y="402"/>
                    <a:pt x="577" y="412"/>
                  </a:cubicBezTo>
                  <a:cubicBezTo>
                    <a:pt x="581" y="417"/>
                    <a:pt x="586" y="419"/>
                    <a:pt x="591" y="419"/>
                  </a:cubicBezTo>
                  <a:cubicBezTo>
                    <a:pt x="597" y="419"/>
                    <a:pt x="604" y="416"/>
                    <a:pt x="610" y="412"/>
                  </a:cubicBezTo>
                  <a:cubicBezTo>
                    <a:pt x="612" y="413"/>
                    <a:pt x="615" y="413"/>
                    <a:pt x="618" y="414"/>
                  </a:cubicBezTo>
                  <a:cubicBezTo>
                    <a:pt x="613" y="430"/>
                    <a:pt x="599" y="468"/>
                    <a:pt x="585" y="486"/>
                  </a:cubicBezTo>
                  <a:cubicBezTo>
                    <a:pt x="564" y="513"/>
                    <a:pt x="558" y="546"/>
                    <a:pt x="568" y="568"/>
                  </a:cubicBezTo>
                  <a:cubicBezTo>
                    <a:pt x="569" y="570"/>
                    <a:pt x="569" y="571"/>
                    <a:pt x="569" y="573"/>
                  </a:cubicBezTo>
                  <a:cubicBezTo>
                    <a:pt x="566" y="580"/>
                    <a:pt x="554" y="586"/>
                    <a:pt x="548" y="588"/>
                  </a:cubicBezTo>
                  <a:cubicBezTo>
                    <a:pt x="546" y="589"/>
                    <a:pt x="545" y="590"/>
                    <a:pt x="544" y="591"/>
                  </a:cubicBezTo>
                  <a:cubicBezTo>
                    <a:pt x="540" y="598"/>
                    <a:pt x="526" y="620"/>
                    <a:pt x="525" y="631"/>
                  </a:cubicBezTo>
                  <a:cubicBezTo>
                    <a:pt x="520" y="639"/>
                    <a:pt x="472" y="672"/>
                    <a:pt x="454" y="677"/>
                  </a:cubicBezTo>
                  <a:cubicBezTo>
                    <a:pt x="444" y="680"/>
                    <a:pt x="441" y="675"/>
                    <a:pt x="432" y="657"/>
                  </a:cubicBezTo>
                  <a:cubicBezTo>
                    <a:pt x="430" y="654"/>
                    <a:pt x="429" y="650"/>
                    <a:pt x="427" y="647"/>
                  </a:cubicBezTo>
                  <a:cubicBezTo>
                    <a:pt x="413" y="621"/>
                    <a:pt x="409" y="599"/>
                    <a:pt x="416" y="589"/>
                  </a:cubicBezTo>
                  <a:cubicBezTo>
                    <a:pt x="428" y="574"/>
                    <a:pt x="414" y="558"/>
                    <a:pt x="403" y="546"/>
                  </a:cubicBezTo>
                  <a:cubicBezTo>
                    <a:pt x="400" y="542"/>
                    <a:pt x="397" y="539"/>
                    <a:pt x="395" y="536"/>
                  </a:cubicBezTo>
                  <a:cubicBezTo>
                    <a:pt x="392" y="532"/>
                    <a:pt x="392" y="529"/>
                    <a:pt x="394" y="522"/>
                  </a:cubicBezTo>
                  <a:cubicBezTo>
                    <a:pt x="395" y="513"/>
                    <a:pt x="397" y="501"/>
                    <a:pt x="391" y="481"/>
                  </a:cubicBezTo>
                  <a:cubicBezTo>
                    <a:pt x="384" y="461"/>
                    <a:pt x="366" y="459"/>
                    <a:pt x="351" y="459"/>
                  </a:cubicBezTo>
                  <a:cubicBezTo>
                    <a:pt x="342" y="459"/>
                    <a:pt x="333" y="459"/>
                    <a:pt x="323" y="460"/>
                  </a:cubicBezTo>
                  <a:cubicBezTo>
                    <a:pt x="312" y="461"/>
                    <a:pt x="299" y="463"/>
                    <a:pt x="285" y="463"/>
                  </a:cubicBezTo>
                  <a:cubicBezTo>
                    <a:pt x="280" y="463"/>
                    <a:pt x="276" y="463"/>
                    <a:pt x="271" y="462"/>
                  </a:cubicBezTo>
                  <a:cubicBezTo>
                    <a:pt x="262" y="462"/>
                    <a:pt x="255" y="458"/>
                    <a:pt x="250" y="451"/>
                  </a:cubicBezTo>
                  <a:cubicBezTo>
                    <a:pt x="237" y="433"/>
                    <a:pt x="238" y="393"/>
                    <a:pt x="252" y="342"/>
                  </a:cubicBezTo>
                  <a:cubicBezTo>
                    <a:pt x="259" y="318"/>
                    <a:pt x="297" y="295"/>
                    <a:pt x="312" y="288"/>
                  </a:cubicBezTo>
                  <a:cubicBezTo>
                    <a:pt x="313" y="288"/>
                    <a:pt x="314" y="287"/>
                    <a:pt x="315" y="285"/>
                  </a:cubicBezTo>
                  <a:cubicBezTo>
                    <a:pt x="319" y="278"/>
                    <a:pt x="318" y="272"/>
                    <a:pt x="316" y="269"/>
                  </a:cubicBezTo>
                  <a:cubicBezTo>
                    <a:pt x="313" y="262"/>
                    <a:pt x="308" y="259"/>
                    <a:pt x="303" y="257"/>
                  </a:cubicBezTo>
                  <a:cubicBezTo>
                    <a:pt x="303" y="251"/>
                    <a:pt x="305" y="242"/>
                    <a:pt x="310" y="240"/>
                  </a:cubicBezTo>
                  <a:cubicBezTo>
                    <a:pt x="315" y="238"/>
                    <a:pt x="322" y="237"/>
                    <a:pt x="327" y="237"/>
                  </a:cubicBezTo>
                  <a:cubicBezTo>
                    <a:pt x="336" y="236"/>
                    <a:pt x="342" y="236"/>
                    <a:pt x="345" y="231"/>
                  </a:cubicBezTo>
                  <a:cubicBezTo>
                    <a:pt x="346" y="229"/>
                    <a:pt x="347" y="225"/>
                    <a:pt x="344" y="221"/>
                  </a:cubicBezTo>
                  <a:cubicBezTo>
                    <a:pt x="344" y="220"/>
                    <a:pt x="343" y="216"/>
                    <a:pt x="346" y="212"/>
                  </a:cubicBezTo>
                  <a:cubicBezTo>
                    <a:pt x="348" y="208"/>
                    <a:pt x="352" y="206"/>
                    <a:pt x="356" y="207"/>
                  </a:cubicBezTo>
                  <a:cubicBezTo>
                    <a:pt x="358" y="207"/>
                    <a:pt x="359" y="207"/>
                    <a:pt x="361" y="207"/>
                  </a:cubicBezTo>
                  <a:cubicBezTo>
                    <a:pt x="376" y="207"/>
                    <a:pt x="385" y="194"/>
                    <a:pt x="388" y="188"/>
                  </a:cubicBezTo>
                  <a:cubicBezTo>
                    <a:pt x="395" y="186"/>
                    <a:pt x="412" y="179"/>
                    <a:pt x="426" y="179"/>
                  </a:cubicBezTo>
                  <a:cubicBezTo>
                    <a:pt x="429" y="179"/>
                    <a:pt x="432" y="179"/>
                    <a:pt x="434" y="180"/>
                  </a:cubicBezTo>
                  <a:cubicBezTo>
                    <a:pt x="441" y="181"/>
                    <a:pt x="446" y="180"/>
                    <a:pt x="448" y="175"/>
                  </a:cubicBezTo>
                  <a:cubicBezTo>
                    <a:pt x="452" y="167"/>
                    <a:pt x="445" y="150"/>
                    <a:pt x="426" y="125"/>
                  </a:cubicBezTo>
                  <a:cubicBezTo>
                    <a:pt x="425" y="123"/>
                    <a:pt x="422" y="122"/>
                    <a:pt x="419" y="122"/>
                  </a:cubicBezTo>
                  <a:cubicBezTo>
                    <a:pt x="416" y="123"/>
                    <a:pt x="414" y="125"/>
                    <a:pt x="414" y="128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00" y="155"/>
                    <a:pt x="385" y="149"/>
                    <a:pt x="381" y="139"/>
                  </a:cubicBezTo>
                  <a:cubicBezTo>
                    <a:pt x="379" y="135"/>
                    <a:pt x="381" y="129"/>
                    <a:pt x="386" y="121"/>
                  </a:cubicBezTo>
                  <a:cubicBezTo>
                    <a:pt x="390" y="115"/>
                    <a:pt x="394" y="110"/>
                    <a:pt x="399" y="105"/>
                  </a:cubicBezTo>
                  <a:cubicBezTo>
                    <a:pt x="400" y="105"/>
                    <a:pt x="400" y="105"/>
                    <a:pt x="400" y="104"/>
                  </a:cubicBezTo>
                  <a:cubicBezTo>
                    <a:pt x="412" y="94"/>
                    <a:pt x="425" y="87"/>
                    <a:pt x="431" y="87"/>
                  </a:cubicBezTo>
                  <a:cubicBezTo>
                    <a:pt x="431" y="87"/>
                    <a:pt x="431" y="87"/>
                    <a:pt x="431" y="87"/>
                  </a:cubicBezTo>
                  <a:cubicBezTo>
                    <a:pt x="435" y="87"/>
                    <a:pt x="440" y="90"/>
                    <a:pt x="445" y="92"/>
                  </a:cubicBezTo>
                  <a:cubicBezTo>
                    <a:pt x="451" y="95"/>
                    <a:pt x="458" y="99"/>
                    <a:pt x="466" y="99"/>
                  </a:cubicBezTo>
                  <a:cubicBezTo>
                    <a:pt x="475" y="99"/>
                    <a:pt x="483" y="94"/>
                    <a:pt x="490" y="85"/>
                  </a:cubicBezTo>
                  <a:cubicBezTo>
                    <a:pt x="505" y="66"/>
                    <a:pt x="497" y="42"/>
                    <a:pt x="490" y="26"/>
                  </a:cubicBezTo>
                  <a:cubicBezTo>
                    <a:pt x="602" y="55"/>
                    <a:pt x="695" y="134"/>
                    <a:pt x="742" y="237"/>
                  </a:cubicBezTo>
                  <a:close/>
                  <a:moveTo>
                    <a:pt x="119" y="480"/>
                  </a:moveTo>
                  <a:cubicBezTo>
                    <a:pt x="109" y="475"/>
                    <a:pt x="95" y="468"/>
                    <a:pt x="79" y="444"/>
                  </a:cubicBezTo>
                  <a:cubicBezTo>
                    <a:pt x="73" y="435"/>
                    <a:pt x="67" y="421"/>
                    <a:pt x="61" y="403"/>
                  </a:cubicBezTo>
                  <a:cubicBezTo>
                    <a:pt x="194" y="403"/>
                    <a:pt x="194" y="403"/>
                    <a:pt x="194" y="403"/>
                  </a:cubicBezTo>
                  <a:cubicBezTo>
                    <a:pt x="194" y="443"/>
                    <a:pt x="198" y="482"/>
                    <a:pt x="204" y="519"/>
                  </a:cubicBezTo>
                  <a:cubicBezTo>
                    <a:pt x="137" y="519"/>
                    <a:pt x="137" y="519"/>
                    <a:pt x="137" y="519"/>
                  </a:cubicBezTo>
                  <a:cubicBezTo>
                    <a:pt x="138" y="516"/>
                    <a:pt x="138" y="513"/>
                    <a:pt x="138" y="510"/>
                  </a:cubicBezTo>
                  <a:cubicBezTo>
                    <a:pt x="139" y="490"/>
                    <a:pt x="129" y="485"/>
                    <a:pt x="119" y="480"/>
                  </a:cubicBezTo>
                  <a:close/>
                  <a:moveTo>
                    <a:pt x="273" y="112"/>
                  </a:moveTo>
                  <a:cubicBezTo>
                    <a:pt x="282" y="107"/>
                    <a:pt x="292" y="102"/>
                    <a:pt x="303" y="100"/>
                  </a:cubicBezTo>
                  <a:cubicBezTo>
                    <a:pt x="309" y="99"/>
                    <a:pt x="316" y="98"/>
                    <a:pt x="322" y="97"/>
                  </a:cubicBezTo>
                  <a:cubicBezTo>
                    <a:pt x="341" y="94"/>
                    <a:pt x="363" y="92"/>
                    <a:pt x="384" y="76"/>
                  </a:cubicBezTo>
                  <a:cubicBezTo>
                    <a:pt x="386" y="75"/>
                    <a:pt x="387" y="74"/>
                    <a:pt x="388" y="73"/>
                  </a:cubicBezTo>
                  <a:cubicBezTo>
                    <a:pt x="388" y="97"/>
                    <a:pt x="388" y="97"/>
                    <a:pt x="388" y="97"/>
                  </a:cubicBezTo>
                  <a:cubicBezTo>
                    <a:pt x="383" y="102"/>
                    <a:pt x="378" y="108"/>
                    <a:pt x="374" y="113"/>
                  </a:cubicBezTo>
                  <a:cubicBezTo>
                    <a:pt x="370" y="120"/>
                    <a:pt x="368" y="125"/>
                    <a:pt x="367" y="130"/>
                  </a:cubicBezTo>
                  <a:cubicBezTo>
                    <a:pt x="342" y="130"/>
                    <a:pt x="342" y="130"/>
                    <a:pt x="342" y="130"/>
                  </a:cubicBezTo>
                  <a:cubicBezTo>
                    <a:pt x="343" y="127"/>
                    <a:pt x="344" y="124"/>
                    <a:pt x="343" y="120"/>
                  </a:cubicBezTo>
                  <a:cubicBezTo>
                    <a:pt x="341" y="112"/>
                    <a:pt x="334" y="107"/>
                    <a:pt x="325" y="107"/>
                  </a:cubicBezTo>
                  <a:cubicBezTo>
                    <a:pt x="318" y="107"/>
                    <a:pt x="310" y="110"/>
                    <a:pt x="305" y="115"/>
                  </a:cubicBezTo>
                  <a:cubicBezTo>
                    <a:pt x="302" y="118"/>
                    <a:pt x="301" y="122"/>
                    <a:pt x="302" y="125"/>
                  </a:cubicBezTo>
                  <a:cubicBezTo>
                    <a:pt x="303" y="127"/>
                    <a:pt x="304" y="129"/>
                    <a:pt x="306" y="130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64" y="124"/>
                    <a:pt x="267" y="119"/>
                    <a:pt x="270" y="113"/>
                  </a:cubicBezTo>
                  <a:cubicBezTo>
                    <a:pt x="271" y="113"/>
                    <a:pt x="272" y="112"/>
                    <a:pt x="273" y="112"/>
                  </a:cubicBezTo>
                  <a:close/>
                  <a:moveTo>
                    <a:pt x="440" y="48"/>
                  </a:moveTo>
                  <a:cubicBezTo>
                    <a:pt x="451" y="45"/>
                    <a:pt x="465" y="38"/>
                    <a:pt x="471" y="27"/>
                  </a:cubicBezTo>
                  <a:cubicBezTo>
                    <a:pt x="472" y="26"/>
                    <a:pt x="472" y="25"/>
                    <a:pt x="473" y="24"/>
                  </a:cubicBezTo>
                  <a:cubicBezTo>
                    <a:pt x="479" y="34"/>
                    <a:pt x="492" y="60"/>
                    <a:pt x="479" y="76"/>
                  </a:cubicBezTo>
                  <a:cubicBezTo>
                    <a:pt x="473" y="84"/>
                    <a:pt x="469" y="85"/>
                    <a:pt x="466" y="85"/>
                  </a:cubicBezTo>
                  <a:cubicBezTo>
                    <a:pt x="461" y="85"/>
                    <a:pt x="456" y="82"/>
                    <a:pt x="451" y="80"/>
                  </a:cubicBezTo>
                  <a:cubicBezTo>
                    <a:pt x="445" y="76"/>
                    <a:pt x="439" y="73"/>
                    <a:pt x="432" y="73"/>
                  </a:cubicBezTo>
                  <a:cubicBezTo>
                    <a:pt x="424" y="72"/>
                    <a:pt x="413" y="77"/>
                    <a:pt x="402" y="85"/>
                  </a:cubicBezTo>
                  <a:cubicBezTo>
                    <a:pt x="402" y="64"/>
                    <a:pt x="402" y="64"/>
                    <a:pt x="402" y="64"/>
                  </a:cubicBezTo>
                  <a:cubicBezTo>
                    <a:pt x="419" y="54"/>
                    <a:pt x="432" y="50"/>
                    <a:pt x="440" y="48"/>
                  </a:cubicBezTo>
                  <a:close/>
                  <a:moveTo>
                    <a:pt x="322" y="122"/>
                  </a:moveTo>
                  <a:cubicBezTo>
                    <a:pt x="325" y="121"/>
                    <a:pt x="327" y="121"/>
                    <a:pt x="328" y="122"/>
                  </a:cubicBezTo>
                  <a:cubicBezTo>
                    <a:pt x="328" y="122"/>
                    <a:pt x="327" y="122"/>
                    <a:pt x="327" y="122"/>
                  </a:cubicBezTo>
                  <a:cubicBezTo>
                    <a:pt x="325" y="122"/>
                    <a:pt x="324" y="122"/>
                    <a:pt x="322" y="122"/>
                  </a:cubicBezTo>
                  <a:close/>
                  <a:moveTo>
                    <a:pt x="368" y="144"/>
                  </a:moveTo>
                  <a:cubicBezTo>
                    <a:pt x="368" y="144"/>
                    <a:pt x="368" y="145"/>
                    <a:pt x="368" y="145"/>
                  </a:cubicBezTo>
                  <a:cubicBezTo>
                    <a:pt x="374" y="157"/>
                    <a:pt x="387" y="165"/>
                    <a:pt x="398" y="170"/>
                  </a:cubicBezTo>
                  <a:cubicBezTo>
                    <a:pt x="388" y="173"/>
                    <a:pt x="381" y="176"/>
                    <a:pt x="380" y="176"/>
                  </a:cubicBezTo>
                  <a:cubicBezTo>
                    <a:pt x="379" y="177"/>
                    <a:pt x="378" y="178"/>
                    <a:pt x="377" y="180"/>
                  </a:cubicBezTo>
                  <a:cubicBezTo>
                    <a:pt x="376" y="179"/>
                    <a:pt x="375" y="178"/>
                    <a:pt x="374" y="178"/>
                  </a:cubicBezTo>
                  <a:cubicBezTo>
                    <a:pt x="375" y="177"/>
                    <a:pt x="375" y="175"/>
                    <a:pt x="376" y="174"/>
                  </a:cubicBezTo>
                  <a:cubicBezTo>
                    <a:pt x="382" y="171"/>
                    <a:pt x="381" y="166"/>
                    <a:pt x="381" y="164"/>
                  </a:cubicBezTo>
                  <a:cubicBezTo>
                    <a:pt x="379" y="157"/>
                    <a:pt x="370" y="155"/>
                    <a:pt x="356" y="153"/>
                  </a:cubicBezTo>
                  <a:cubicBezTo>
                    <a:pt x="356" y="153"/>
                    <a:pt x="355" y="153"/>
                    <a:pt x="354" y="153"/>
                  </a:cubicBezTo>
                  <a:cubicBezTo>
                    <a:pt x="346" y="153"/>
                    <a:pt x="342" y="158"/>
                    <a:pt x="342" y="163"/>
                  </a:cubicBezTo>
                  <a:cubicBezTo>
                    <a:pt x="340" y="161"/>
                    <a:pt x="338" y="160"/>
                    <a:pt x="336" y="159"/>
                  </a:cubicBezTo>
                  <a:cubicBezTo>
                    <a:pt x="335" y="159"/>
                    <a:pt x="333" y="159"/>
                    <a:pt x="332" y="159"/>
                  </a:cubicBezTo>
                  <a:cubicBezTo>
                    <a:pt x="321" y="159"/>
                    <a:pt x="312" y="170"/>
                    <a:pt x="311" y="179"/>
                  </a:cubicBezTo>
                  <a:cubicBezTo>
                    <a:pt x="311" y="186"/>
                    <a:pt x="315" y="192"/>
                    <a:pt x="323" y="193"/>
                  </a:cubicBezTo>
                  <a:cubicBezTo>
                    <a:pt x="323" y="193"/>
                    <a:pt x="324" y="193"/>
                    <a:pt x="325" y="193"/>
                  </a:cubicBezTo>
                  <a:cubicBezTo>
                    <a:pt x="330" y="193"/>
                    <a:pt x="334" y="192"/>
                    <a:pt x="337" y="189"/>
                  </a:cubicBezTo>
                  <a:cubicBezTo>
                    <a:pt x="336" y="191"/>
                    <a:pt x="335" y="194"/>
                    <a:pt x="336" y="196"/>
                  </a:cubicBezTo>
                  <a:cubicBezTo>
                    <a:pt x="337" y="197"/>
                    <a:pt x="337" y="198"/>
                    <a:pt x="338" y="199"/>
                  </a:cubicBezTo>
                  <a:cubicBezTo>
                    <a:pt x="336" y="201"/>
                    <a:pt x="335" y="203"/>
                    <a:pt x="333" y="205"/>
                  </a:cubicBezTo>
                  <a:cubicBezTo>
                    <a:pt x="330" y="210"/>
                    <a:pt x="329" y="217"/>
                    <a:pt x="330" y="223"/>
                  </a:cubicBezTo>
                  <a:cubicBezTo>
                    <a:pt x="329" y="223"/>
                    <a:pt x="327" y="223"/>
                    <a:pt x="326" y="223"/>
                  </a:cubicBezTo>
                  <a:cubicBezTo>
                    <a:pt x="320" y="224"/>
                    <a:pt x="311" y="224"/>
                    <a:pt x="305" y="227"/>
                  </a:cubicBezTo>
                  <a:cubicBezTo>
                    <a:pt x="291" y="232"/>
                    <a:pt x="289" y="249"/>
                    <a:pt x="289" y="259"/>
                  </a:cubicBezTo>
                  <a:cubicBezTo>
                    <a:pt x="220" y="259"/>
                    <a:pt x="220" y="259"/>
                    <a:pt x="220" y="259"/>
                  </a:cubicBezTo>
                  <a:cubicBezTo>
                    <a:pt x="228" y="217"/>
                    <a:pt x="240" y="178"/>
                    <a:pt x="255" y="144"/>
                  </a:cubicBezTo>
                  <a:lnTo>
                    <a:pt x="368" y="144"/>
                  </a:lnTo>
                  <a:close/>
                  <a:moveTo>
                    <a:pt x="346" y="175"/>
                  </a:moveTo>
                  <a:cubicBezTo>
                    <a:pt x="346" y="175"/>
                    <a:pt x="346" y="174"/>
                    <a:pt x="346" y="174"/>
                  </a:cubicBezTo>
                  <a:cubicBezTo>
                    <a:pt x="346" y="175"/>
                    <a:pt x="347" y="176"/>
                    <a:pt x="348" y="177"/>
                  </a:cubicBezTo>
                  <a:cubicBezTo>
                    <a:pt x="348" y="177"/>
                    <a:pt x="348" y="177"/>
                    <a:pt x="348" y="177"/>
                  </a:cubicBezTo>
                  <a:cubicBezTo>
                    <a:pt x="347" y="178"/>
                    <a:pt x="345" y="180"/>
                    <a:pt x="344" y="181"/>
                  </a:cubicBezTo>
                  <a:cubicBezTo>
                    <a:pt x="345" y="179"/>
                    <a:pt x="345" y="177"/>
                    <a:pt x="346" y="175"/>
                  </a:cubicBezTo>
                  <a:close/>
                  <a:moveTo>
                    <a:pt x="363" y="169"/>
                  </a:moveTo>
                  <a:cubicBezTo>
                    <a:pt x="362" y="168"/>
                    <a:pt x="361" y="168"/>
                    <a:pt x="360" y="168"/>
                  </a:cubicBezTo>
                  <a:cubicBezTo>
                    <a:pt x="360" y="168"/>
                    <a:pt x="360" y="168"/>
                    <a:pt x="359" y="168"/>
                  </a:cubicBezTo>
                  <a:cubicBezTo>
                    <a:pt x="361" y="168"/>
                    <a:pt x="362" y="168"/>
                    <a:pt x="363" y="168"/>
                  </a:cubicBezTo>
                  <a:cubicBezTo>
                    <a:pt x="363" y="169"/>
                    <a:pt x="363" y="169"/>
                    <a:pt x="363" y="169"/>
                  </a:cubicBezTo>
                  <a:close/>
                  <a:moveTo>
                    <a:pt x="361" y="184"/>
                  </a:moveTo>
                  <a:cubicBezTo>
                    <a:pt x="362" y="185"/>
                    <a:pt x="362" y="186"/>
                    <a:pt x="363" y="187"/>
                  </a:cubicBezTo>
                  <a:cubicBezTo>
                    <a:pt x="361" y="187"/>
                    <a:pt x="360" y="187"/>
                    <a:pt x="357" y="188"/>
                  </a:cubicBezTo>
                  <a:cubicBezTo>
                    <a:pt x="359" y="187"/>
                    <a:pt x="360" y="185"/>
                    <a:pt x="361" y="184"/>
                  </a:cubicBezTo>
                  <a:close/>
                  <a:moveTo>
                    <a:pt x="332" y="173"/>
                  </a:moveTo>
                  <a:cubicBezTo>
                    <a:pt x="332" y="174"/>
                    <a:pt x="331" y="175"/>
                    <a:pt x="330" y="176"/>
                  </a:cubicBezTo>
                  <a:cubicBezTo>
                    <a:pt x="329" y="177"/>
                    <a:pt x="328" y="179"/>
                    <a:pt x="326" y="179"/>
                  </a:cubicBezTo>
                  <a:cubicBezTo>
                    <a:pt x="326" y="178"/>
                    <a:pt x="327" y="177"/>
                    <a:pt x="328" y="175"/>
                  </a:cubicBezTo>
                  <a:cubicBezTo>
                    <a:pt x="329" y="174"/>
                    <a:pt x="331" y="173"/>
                    <a:pt x="332" y="173"/>
                  </a:cubicBezTo>
                  <a:close/>
                  <a:moveTo>
                    <a:pt x="297" y="273"/>
                  </a:moveTo>
                  <a:cubicBezTo>
                    <a:pt x="298" y="273"/>
                    <a:pt x="300" y="273"/>
                    <a:pt x="301" y="272"/>
                  </a:cubicBezTo>
                  <a:cubicBezTo>
                    <a:pt x="302" y="272"/>
                    <a:pt x="303" y="273"/>
                    <a:pt x="303" y="274"/>
                  </a:cubicBezTo>
                  <a:cubicBezTo>
                    <a:pt x="303" y="275"/>
                    <a:pt x="304" y="275"/>
                    <a:pt x="303" y="277"/>
                  </a:cubicBezTo>
                  <a:cubicBezTo>
                    <a:pt x="292" y="283"/>
                    <a:pt x="247" y="307"/>
                    <a:pt x="239" y="338"/>
                  </a:cubicBezTo>
                  <a:cubicBezTo>
                    <a:pt x="234" y="354"/>
                    <a:pt x="231" y="372"/>
                    <a:pt x="229" y="389"/>
                  </a:cubicBezTo>
                  <a:cubicBezTo>
                    <a:pt x="208" y="389"/>
                    <a:pt x="208" y="389"/>
                    <a:pt x="208" y="389"/>
                  </a:cubicBezTo>
                  <a:cubicBezTo>
                    <a:pt x="208" y="349"/>
                    <a:pt x="212" y="310"/>
                    <a:pt x="218" y="273"/>
                  </a:cubicBezTo>
                  <a:lnTo>
                    <a:pt x="297" y="273"/>
                  </a:lnTo>
                  <a:close/>
                  <a:moveTo>
                    <a:pt x="208" y="403"/>
                  </a:moveTo>
                  <a:cubicBezTo>
                    <a:pt x="227" y="403"/>
                    <a:pt x="227" y="403"/>
                    <a:pt x="227" y="403"/>
                  </a:cubicBezTo>
                  <a:cubicBezTo>
                    <a:pt x="226" y="425"/>
                    <a:pt x="229" y="445"/>
                    <a:pt x="239" y="459"/>
                  </a:cubicBezTo>
                  <a:cubicBezTo>
                    <a:pt x="246" y="469"/>
                    <a:pt x="257" y="475"/>
                    <a:pt x="270" y="476"/>
                  </a:cubicBezTo>
                  <a:cubicBezTo>
                    <a:pt x="275" y="477"/>
                    <a:pt x="280" y="477"/>
                    <a:pt x="285" y="477"/>
                  </a:cubicBezTo>
                  <a:cubicBezTo>
                    <a:pt x="299" y="477"/>
                    <a:pt x="313" y="475"/>
                    <a:pt x="325" y="474"/>
                  </a:cubicBezTo>
                  <a:cubicBezTo>
                    <a:pt x="334" y="473"/>
                    <a:pt x="343" y="473"/>
                    <a:pt x="351" y="473"/>
                  </a:cubicBezTo>
                  <a:cubicBezTo>
                    <a:pt x="369" y="473"/>
                    <a:pt x="374" y="478"/>
                    <a:pt x="377" y="486"/>
                  </a:cubicBezTo>
                  <a:cubicBezTo>
                    <a:pt x="383" y="501"/>
                    <a:pt x="381" y="510"/>
                    <a:pt x="380" y="519"/>
                  </a:cubicBezTo>
                  <a:cubicBezTo>
                    <a:pt x="218" y="519"/>
                    <a:pt x="218" y="519"/>
                    <a:pt x="218" y="519"/>
                  </a:cubicBezTo>
                  <a:cubicBezTo>
                    <a:pt x="212" y="482"/>
                    <a:pt x="208" y="443"/>
                    <a:pt x="208" y="403"/>
                  </a:cubicBezTo>
                  <a:close/>
                  <a:moveTo>
                    <a:pt x="402" y="567"/>
                  </a:moveTo>
                  <a:cubicBezTo>
                    <a:pt x="406" y="573"/>
                    <a:pt x="408" y="577"/>
                    <a:pt x="405" y="581"/>
                  </a:cubicBezTo>
                  <a:cubicBezTo>
                    <a:pt x="404" y="582"/>
                    <a:pt x="403" y="584"/>
                    <a:pt x="402" y="586"/>
                  </a:cubicBezTo>
                  <a:lnTo>
                    <a:pt x="402" y="567"/>
                  </a:lnTo>
                  <a:close/>
                  <a:moveTo>
                    <a:pt x="402" y="623"/>
                  </a:moveTo>
                  <a:cubicBezTo>
                    <a:pt x="405" y="633"/>
                    <a:pt x="409" y="641"/>
                    <a:pt x="412" y="648"/>
                  </a:cubicBezTo>
                  <a:cubicBezTo>
                    <a:pt x="402" y="648"/>
                    <a:pt x="402" y="648"/>
                    <a:pt x="402" y="648"/>
                  </a:cubicBezTo>
                  <a:lnTo>
                    <a:pt x="402" y="623"/>
                  </a:lnTo>
                  <a:close/>
                  <a:moveTo>
                    <a:pt x="423" y="165"/>
                  </a:moveTo>
                  <a:cubicBezTo>
                    <a:pt x="425" y="149"/>
                    <a:pt x="425" y="149"/>
                    <a:pt x="425" y="149"/>
                  </a:cubicBezTo>
                  <a:cubicBezTo>
                    <a:pt x="429" y="155"/>
                    <a:pt x="433" y="162"/>
                    <a:pt x="434" y="166"/>
                  </a:cubicBezTo>
                  <a:cubicBezTo>
                    <a:pt x="432" y="165"/>
                    <a:pt x="429" y="165"/>
                    <a:pt x="426" y="165"/>
                  </a:cubicBezTo>
                  <a:cubicBezTo>
                    <a:pt x="425" y="165"/>
                    <a:pt x="424" y="165"/>
                    <a:pt x="423" y="165"/>
                  </a:cubicBezTo>
                  <a:close/>
                  <a:moveTo>
                    <a:pt x="204" y="273"/>
                  </a:moveTo>
                  <a:cubicBezTo>
                    <a:pt x="198" y="310"/>
                    <a:pt x="194" y="349"/>
                    <a:pt x="194" y="389"/>
                  </a:cubicBezTo>
                  <a:cubicBezTo>
                    <a:pt x="56" y="389"/>
                    <a:pt x="56" y="389"/>
                    <a:pt x="56" y="389"/>
                  </a:cubicBezTo>
                  <a:cubicBezTo>
                    <a:pt x="48" y="361"/>
                    <a:pt x="39" y="325"/>
                    <a:pt x="31" y="282"/>
                  </a:cubicBezTo>
                  <a:cubicBezTo>
                    <a:pt x="32" y="279"/>
                    <a:pt x="33" y="276"/>
                    <a:pt x="34" y="273"/>
                  </a:cubicBezTo>
                  <a:lnTo>
                    <a:pt x="204" y="273"/>
                  </a:lnTo>
                  <a:close/>
                  <a:moveTo>
                    <a:pt x="134" y="533"/>
                  </a:moveTo>
                  <a:cubicBezTo>
                    <a:pt x="206" y="533"/>
                    <a:pt x="206" y="533"/>
                    <a:pt x="206" y="533"/>
                  </a:cubicBezTo>
                  <a:cubicBezTo>
                    <a:pt x="214" y="574"/>
                    <a:pt x="225" y="613"/>
                    <a:pt x="240" y="648"/>
                  </a:cubicBezTo>
                  <a:cubicBezTo>
                    <a:pt x="143" y="648"/>
                    <a:pt x="143" y="648"/>
                    <a:pt x="143" y="648"/>
                  </a:cubicBezTo>
                  <a:cubicBezTo>
                    <a:pt x="122" y="595"/>
                    <a:pt x="129" y="558"/>
                    <a:pt x="134" y="533"/>
                  </a:cubicBezTo>
                  <a:close/>
                  <a:moveTo>
                    <a:pt x="220" y="533"/>
                  </a:moveTo>
                  <a:cubicBezTo>
                    <a:pt x="379" y="533"/>
                    <a:pt x="379" y="533"/>
                    <a:pt x="379" y="533"/>
                  </a:cubicBezTo>
                  <a:cubicBezTo>
                    <a:pt x="379" y="536"/>
                    <a:pt x="380" y="540"/>
                    <a:pt x="383" y="544"/>
                  </a:cubicBezTo>
                  <a:cubicBezTo>
                    <a:pt x="385" y="546"/>
                    <a:pt x="386" y="548"/>
                    <a:pt x="388" y="550"/>
                  </a:cubicBezTo>
                  <a:cubicBezTo>
                    <a:pt x="388" y="648"/>
                    <a:pt x="388" y="648"/>
                    <a:pt x="388" y="648"/>
                  </a:cubicBezTo>
                  <a:cubicBezTo>
                    <a:pt x="255" y="648"/>
                    <a:pt x="255" y="648"/>
                    <a:pt x="255" y="648"/>
                  </a:cubicBezTo>
                  <a:cubicBezTo>
                    <a:pt x="240" y="614"/>
                    <a:pt x="228" y="575"/>
                    <a:pt x="220" y="533"/>
                  </a:cubicBezTo>
                  <a:close/>
                  <a:moveTo>
                    <a:pt x="388" y="662"/>
                  </a:moveTo>
                  <a:cubicBezTo>
                    <a:pt x="388" y="777"/>
                    <a:pt x="388" y="777"/>
                    <a:pt x="388" y="777"/>
                  </a:cubicBezTo>
                  <a:cubicBezTo>
                    <a:pt x="339" y="774"/>
                    <a:pt x="294" y="730"/>
                    <a:pt x="261" y="662"/>
                  </a:cubicBezTo>
                  <a:lnTo>
                    <a:pt x="388" y="662"/>
                  </a:lnTo>
                  <a:close/>
                  <a:moveTo>
                    <a:pt x="402" y="662"/>
                  </a:moveTo>
                  <a:cubicBezTo>
                    <a:pt x="419" y="662"/>
                    <a:pt x="419" y="662"/>
                    <a:pt x="419" y="662"/>
                  </a:cubicBezTo>
                  <a:cubicBezTo>
                    <a:pt x="419" y="662"/>
                    <a:pt x="419" y="663"/>
                    <a:pt x="419" y="663"/>
                  </a:cubicBezTo>
                  <a:cubicBezTo>
                    <a:pt x="427" y="678"/>
                    <a:pt x="433" y="692"/>
                    <a:pt x="449" y="692"/>
                  </a:cubicBezTo>
                  <a:cubicBezTo>
                    <a:pt x="452" y="692"/>
                    <a:pt x="455" y="691"/>
                    <a:pt x="458" y="691"/>
                  </a:cubicBezTo>
                  <a:cubicBezTo>
                    <a:pt x="470" y="687"/>
                    <a:pt x="491" y="675"/>
                    <a:pt x="505" y="665"/>
                  </a:cubicBezTo>
                  <a:cubicBezTo>
                    <a:pt x="506" y="664"/>
                    <a:pt x="508" y="663"/>
                    <a:pt x="509" y="662"/>
                  </a:cubicBezTo>
                  <a:cubicBezTo>
                    <a:pt x="529" y="662"/>
                    <a:pt x="529" y="662"/>
                    <a:pt x="529" y="662"/>
                  </a:cubicBezTo>
                  <a:cubicBezTo>
                    <a:pt x="496" y="732"/>
                    <a:pt x="450" y="774"/>
                    <a:pt x="402" y="777"/>
                  </a:cubicBezTo>
                  <a:lnTo>
                    <a:pt x="402" y="662"/>
                  </a:lnTo>
                  <a:close/>
                  <a:moveTo>
                    <a:pt x="528" y="648"/>
                  </a:moveTo>
                  <a:cubicBezTo>
                    <a:pt x="539" y="638"/>
                    <a:pt x="539" y="634"/>
                    <a:pt x="539" y="632"/>
                  </a:cubicBezTo>
                  <a:cubicBezTo>
                    <a:pt x="539" y="628"/>
                    <a:pt x="545" y="617"/>
                    <a:pt x="552" y="605"/>
                  </a:cubicBezTo>
                  <a:cubicBezTo>
                    <a:pt x="547" y="621"/>
                    <a:pt x="541" y="635"/>
                    <a:pt x="536" y="648"/>
                  </a:cubicBezTo>
                  <a:lnTo>
                    <a:pt x="528" y="648"/>
                  </a:lnTo>
                  <a:close/>
                  <a:moveTo>
                    <a:pt x="570" y="592"/>
                  </a:moveTo>
                  <a:cubicBezTo>
                    <a:pt x="575" y="588"/>
                    <a:pt x="579" y="584"/>
                    <a:pt x="582" y="579"/>
                  </a:cubicBezTo>
                  <a:cubicBezTo>
                    <a:pt x="584" y="573"/>
                    <a:pt x="584" y="567"/>
                    <a:pt x="581" y="561"/>
                  </a:cubicBezTo>
                  <a:cubicBezTo>
                    <a:pt x="577" y="554"/>
                    <a:pt x="576" y="544"/>
                    <a:pt x="579" y="533"/>
                  </a:cubicBezTo>
                  <a:cubicBezTo>
                    <a:pt x="752" y="533"/>
                    <a:pt x="752" y="533"/>
                    <a:pt x="752" y="533"/>
                  </a:cubicBezTo>
                  <a:cubicBezTo>
                    <a:pt x="735" y="575"/>
                    <a:pt x="711" y="614"/>
                    <a:pt x="682" y="648"/>
                  </a:cubicBezTo>
                  <a:cubicBezTo>
                    <a:pt x="551" y="648"/>
                    <a:pt x="551" y="648"/>
                    <a:pt x="551" y="648"/>
                  </a:cubicBezTo>
                  <a:cubicBezTo>
                    <a:pt x="558" y="631"/>
                    <a:pt x="565" y="612"/>
                    <a:pt x="570" y="592"/>
                  </a:cubicBezTo>
                  <a:close/>
                  <a:moveTo>
                    <a:pt x="175" y="708"/>
                  </a:moveTo>
                  <a:cubicBezTo>
                    <a:pt x="164" y="691"/>
                    <a:pt x="155" y="676"/>
                    <a:pt x="149" y="662"/>
                  </a:cubicBezTo>
                  <a:cubicBezTo>
                    <a:pt x="246" y="662"/>
                    <a:pt x="246" y="662"/>
                    <a:pt x="246" y="662"/>
                  </a:cubicBezTo>
                  <a:cubicBezTo>
                    <a:pt x="248" y="666"/>
                    <a:pt x="250" y="670"/>
                    <a:pt x="252" y="674"/>
                  </a:cubicBezTo>
                  <a:cubicBezTo>
                    <a:pt x="275" y="720"/>
                    <a:pt x="302" y="753"/>
                    <a:pt x="333" y="772"/>
                  </a:cubicBezTo>
                  <a:cubicBezTo>
                    <a:pt x="275" y="763"/>
                    <a:pt x="221" y="740"/>
                    <a:pt x="175" y="708"/>
                  </a:cubicBezTo>
                  <a:close/>
                  <a:moveTo>
                    <a:pt x="457" y="773"/>
                  </a:moveTo>
                  <a:cubicBezTo>
                    <a:pt x="491" y="751"/>
                    <a:pt x="521" y="713"/>
                    <a:pt x="545" y="662"/>
                  </a:cubicBezTo>
                  <a:cubicBezTo>
                    <a:pt x="669" y="662"/>
                    <a:pt x="669" y="662"/>
                    <a:pt x="669" y="662"/>
                  </a:cubicBezTo>
                  <a:cubicBezTo>
                    <a:pt x="613" y="719"/>
                    <a:pt x="539" y="759"/>
                    <a:pt x="457" y="7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738CA2-3FA9-36C5-01D3-23C16AFCD192}"/>
              </a:ext>
            </a:extLst>
          </p:cNvPr>
          <p:cNvGrpSpPr/>
          <p:nvPr/>
        </p:nvGrpSpPr>
        <p:grpSpPr>
          <a:xfrm>
            <a:off x="5670146" y="5055154"/>
            <a:ext cx="360000" cy="360000"/>
            <a:chOff x="1289161" y="1498714"/>
            <a:chExt cx="1097280" cy="1097280"/>
          </a:xfrm>
        </p:grpSpPr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920ECE79-36AE-E77C-120F-F68E488DD7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161" y="1498714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3">
              <a:extLst>
                <a:ext uri="{FF2B5EF4-FFF2-40B4-BE49-F238E27FC236}">
                  <a16:creationId xmlns:a16="http://schemas.microsoft.com/office/drawing/2014/main" id="{28D3B178-72D4-083D-5533-22A77F0B34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9199" y="1698753"/>
              <a:ext cx="697203" cy="699158"/>
            </a:xfrm>
            <a:custGeom>
              <a:avLst/>
              <a:gdLst>
                <a:gd name="T0" fmla="*/ 311 w 453"/>
                <a:gd name="T1" fmla="*/ 43 h 454"/>
                <a:gd name="T2" fmla="*/ 354 w 453"/>
                <a:gd name="T3" fmla="*/ 77 h 454"/>
                <a:gd name="T4" fmla="*/ 448 w 453"/>
                <a:gd name="T5" fmla="*/ 177 h 454"/>
                <a:gd name="T6" fmla="*/ 304 w 453"/>
                <a:gd name="T7" fmla="*/ 122 h 454"/>
                <a:gd name="T8" fmla="*/ 185 w 453"/>
                <a:gd name="T9" fmla="*/ 185 h 454"/>
                <a:gd name="T10" fmla="*/ 97 w 453"/>
                <a:gd name="T11" fmla="*/ 96 h 454"/>
                <a:gd name="T12" fmla="*/ 4 w 453"/>
                <a:gd name="T13" fmla="*/ 204 h 454"/>
                <a:gd name="T14" fmla="*/ 51 w 453"/>
                <a:gd name="T15" fmla="*/ 436 h 454"/>
                <a:gd name="T16" fmla="*/ 100 w 453"/>
                <a:gd name="T17" fmla="*/ 342 h 454"/>
                <a:gd name="T18" fmla="*/ 149 w 453"/>
                <a:gd name="T19" fmla="*/ 437 h 454"/>
                <a:gd name="T20" fmla="*/ 157 w 453"/>
                <a:gd name="T21" fmla="*/ 219 h 454"/>
                <a:gd name="T22" fmla="*/ 237 w 453"/>
                <a:gd name="T23" fmla="*/ 252 h 454"/>
                <a:gd name="T24" fmla="*/ 303 w 453"/>
                <a:gd name="T25" fmla="*/ 436 h 454"/>
                <a:gd name="T26" fmla="*/ 353 w 453"/>
                <a:gd name="T27" fmla="*/ 342 h 454"/>
                <a:gd name="T28" fmla="*/ 402 w 453"/>
                <a:gd name="T29" fmla="*/ 437 h 454"/>
                <a:gd name="T30" fmla="*/ 418 w 453"/>
                <a:gd name="T31" fmla="*/ 277 h 454"/>
                <a:gd name="T32" fmla="*/ 220 w 453"/>
                <a:gd name="T33" fmla="*/ 243 h 454"/>
                <a:gd name="T34" fmla="*/ 137 w 453"/>
                <a:gd name="T35" fmla="*/ 145 h 454"/>
                <a:gd name="T36" fmla="*/ 133 w 453"/>
                <a:gd name="T37" fmla="*/ 185 h 454"/>
                <a:gd name="T38" fmla="*/ 140 w 453"/>
                <a:gd name="T39" fmla="*/ 436 h 454"/>
                <a:gd name="T40" fmla="*/ 105 w 453"/>
                <a:gd name="T41" fmla="*/ 281 h 454"/>
                <a:gd name="T42" fmla="*/ 72 w 453"/>
                <a:gd name="T43" fmla="*/ 444 h 454"/>
                <a:gd name="T44" fmla="*/ 61 w 453"/>
                <a:gd name="T45" fmla="*/ 386 h 454"/>
                <a:gd name="T46" fmla="*/ 62 w 453"/>
                <a:gd name="T47" fmla="*/ 249 h 454"/>
                <a:gd name="T48" fmla="*/ 35 w 453"/>
                <a:gd name="T49" fmla="*/ 193 h 454"/>
                <a:gd name="T50" fmla="*/ 53 w 453"/>
                <a:gd name="T51" fmla="*/ 252 h 454"/>
                <a:gd name="T52" fmla="*/ 53 w 453"/>
                <a:gd name="T53" fmla="*/ 276 h 454"/>
                <a:gd name="T54" fmla="*/ 47 w 453"/>
                <a:gd name="T55" fmla="*/ 128 h 454"/>
                <a:gd name="T56" fmla="*/ 141 w 453"/>
                <a:gd name="T57" fmla="*/ 127 h 454"/>
                <a:gd name="T58" fmla="*/ 222 w 453"/>
                <a:gd name="T59" fmla="*/ 225 h 454"/>
                <a:gd name="T60" fmla="*/ 53 w 453"/>
                <a:gd name="T61" fmla="*/ 183 h 454"/>
                <a:gd name="T62" fmla="*/ 440 w 453"/>
                <a:gd name="T63" fmla="*/ 201 h 454"/>
                <a:gd name="T64" fmla="*/ 394 w 453"/>
                <a:gd name="T65" fmla="*/ 267 h 454"/>
                <a:gd name="T66" fmla="*/ 407 w 453"/>
                <a:gd name="T67" fmla="*/ 232 h 454"/>
                <a:gd name="T68" fmla="*/ 393 w 453"/>
                <a:gd name="T69" fmla="*/ 165 h 454"/>
                <a:gd name="T70" fmla="*/ 385 w 453"/>
                <a:gd name="T71" fmla="*/ 265 h 454"/>
                <a:gd name="T72" fmla="*/ 392 w 453"/>
                <a:gd name="T73" fmla="*/ 436 h 454"/>
                <a:gd name="T74" fmla="*/ 357 w 453"/>
                <a:gd name="T75" fmla="*/ 281 h 454"/>
                <a:gd name="T76" fmla="*/ 325 w 453"/>
                <a:gd name="T77" fmla="*/ 444 h 454"/>
                <a:gd name="T78" fmla="*/ 314 w 453"/>
                <a:gd name="T79" fmla="*/ 392 h 454"/>
                <a:gd name="T80" fmla="*/ 320 w 453"/>
                <a:gd name="T81" fmla="*/ 150 h 454"/>
                <a:gd name="T82" fmla="*/ 310 w 453"/>
                <a:gd name="T83" fmla="*/ 183 h 454"/>
                <a:gd name="T84" fmla="*/ 236 w 453"/>
                <a:gd name="T85" fmla="*/ 223 h 454"/>
                <a:gd name="T86" fmla="*/ 312 w 453"/>
                <a:gd name="T87" fmla="*/ 127 h 454"/>
                <a:gd name="T88" fmla="*/ 406 w 453"/>
                <a:gd name="T89" fmla="*/ 128 h 454"/>
                <a:gd name="T90" fmla="*/ 409 w 453"/>
                <a:gd name="T91" fmla="*/ 196 h 454"/>
                <a:gd name="T92" fmla="*/ 142 w 453"/>
                <a:gd name="T93" fmla="*/ 43 h 454"/>
                <a:gd name="T94" fmla="*/ 99 w 453"/>
                <a:gd name="T95" fmla="*/ 9 h 454"/>
                <a:gd name="T96" fmla="*/ 99 w 453"/>
                <a:gd name="T97" fmla="*/ 9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454">
                  <a:moveTo>
                    <a:pt x="354" y="86"/>
                  </a:moveTo>
                  <a:cubicBezTo>
                    <a:pt x="378" y="86"/>
                    <a:pt x="398" y="67"/>
                    <a:pt x="398" y="43"/>
                  </a:cubicBezTo>
                  <a:cubicBezTo>
                    <a:pt x="398" y="19"/>
                    <a:pt x="378" y="0"/>
                    <a:pt x="354" y="0"/>
                  </a:cubicBezTo>
                  <a:cubicBezTo>
                    <a:pt x="330" y="0"/>
                    <a:pt x="311" y="19"/>
                    <a:pt x="311" y="43"/>
                  </a:cubicBezTo>
                  <a:cubicBezTo>
                    <a:pt x="311" y="67"/>
                    <a:pt x="330" y="86"/>
                    <a:pt x="354" y="86"/>
                  </a:cubicBezTo>
                  <a:close/>
                  <a:moveTo>
                    <a:pt x="354" y="9"/>
                  </a:moveTo>
                  <a:cubicBezTo>
                    <a:pt x="373" y="9"/>
                    <a:pt x="388" y="24"/>
                    <a:pt x="388" y="43"/>
                  </a:cubicBezTo>
                  <a:cubicBezTo>
                    <a:pt x="388" y="62"/>
                    <a:pt x="373" y="77"/>
                    <a:pt x="354" y="77"/>
                  </a:cubicBezTo>
                  <a:cubicBezTo>
                    <a:pt x="336" y="77"/>
                    <a:pt x="320" y="62"/>
                    <a:pt x="320" y="43"/>
                  </a:cubicBezTo>
                  <a:cubicBezTo>
                    <a:pt x="320" y="24"/>
                    <a:pt x="336" y="9"/>
                    <a:pt x="354" y="9"/>
                  </a:cubicBezTo>
                  <a:close/>
                  <a:moveTo>
                    <a:pt x="448" y="177"/>
                  </a:moveTo>
                  <a:cubicBezTo>
                    <a:pt x="448" y="177"/>
                    <a:pt x="448" y="177"/>
                    <a:pt x="448" y="177"/>
                  </a:cubicBezTo>
                  <a:cubicBezTo>
                    <a:pt x="414" y="123"/>
                    <a:pt x="414" y="123"/>
                    <a:pt x="414" y="123"/>
                  </a:cubicBezTo>
                  <a:cubicBezTo>
                    <a:pt x="401" y="104"/>
                    <a:pt x="393" y="96"/>
                    <a:pt x="356" y="96"/>
                  </a:cubicBezTo>
                  <a:cubicBezTo>
                    <a:pt x="356" y="96"/>
                    <a:pt x="356" y="96"/>
                    <a:pt x="356" y="96"/>
                  </a:cubicBezTo>
                  <a:cubicBezTo>
                    <a:pt x="319" y="96"/>
                    <a:pt x="309" y="113"/>
                    <a:pt x="304" y="12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297" y="136"/>
                    <a:pt x="272" y="179"/>
                    <a:pt x="268" y="185"/>
                  </a:cubicBezTo>
                  <a:cubicBezTo>
                    <a:pt x="263" y="188"/>
                    <a:pt x="240" y="206"/>
                    <a:pt x="226" y="217"/>
                  </a:cubicBezTo>
                  <a:cubicBezTo>
                    <a:pt x="216" y="209"/>
                    <a:pt x="198" y="195"/>
                    <a:pt x="185" y="185"/>
                  </a:cubicBezTo>
                  <a:cubicBezTo>
                    <a:pt x="181" y="179"/>
                    <a:pt x="156" y="136"/>
                    <a:pt x="149" y="122"/>
                  </a:cubicBezTo>
                  <a:cubicBezTo>
                    <a:pt x="148" y="122"/>
                    <a:pt x="148" y="122"/>
                    <a:pt x="148" y="122"/>
                  </a:cubicBezTo>
                  <a:cubicBezTo>
                    <a:pt x="143" y="113"/>
                    <a:pt x="134" y="96"/>
                    <a:pt x="97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60" y="96"/>
                    <a:pt x="52" y="104"/>
                    <a:pt x="39" y="123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0" y="186"/>
                    <a:pt x="0" y="195"/>
                    <a:pt x="4" y="204"/>
                  </a:cubicBezTo>
                  <a:cubicBezTo>
                    <a:pt x="35" y="277"/>
                    <a:pt x="35" y="277"/>
                    <a:pt x="35" y="277"/>
                  </a:cubicBezTo>
                  <a:cubicBezTo>
                    <a:pt x="38" y="282"/>
                    <a:pt x="44" y="286"/>
                    <a:pt x="50" y="286"/>
                  </a:cubicBezTo>
                  <a:cubicBezTo>
                    <a:pt x="51" y="286"/>
                    <a:pt x="52" y="286"/>
                    <a:pt x="52" y="286"/>
                  </a:cubicBezTo>
                  <a:cubicBezTo>
                    <a:pt x="52" y="404"/>
                    <a:pt x="51" y="433"/>
                    <a:pt x="51" y="436"/>
                  </a:cubicBezTo>
                  <a:cubicBezTo>
                    <a:pt x="51" y="436"/>
                    <a:pt x="51" y="436"/>
                    <a:pt x="51" y="437"/>
                  </a:cubicBezTo>
                  <a:cubicBezTo>
                    <a:pt x="52" y="447"/>
                    <a:pt x="62" y="454"/>
                    <a:pt x="72" y="454"/>
                  </a:cubicBezTo>
                  <a:cubicBezTo>
                    <a:pt x="83" y="454"/>
                    <a:pt x="92" y="446"/>
                    <a:pt x="93" y="436"/>
                  </a:cubicBezTo>
                  <a:cubicBezTo>
                    <a:pt x="100" y="342"/>
                    <a:pt x="100" y="342"/>
                    <a:pt x="100" y="342"/>
                  </a:cubicBezTo>
                  <a:cubicBezTo>
                    <a:pt x="108" y="436"/>
                    <a:pt x="108" y="436"/>
                    <a:pt x="108" y="436"/>
                  </a:cubicBezTo>
                  <a:cubicBezTo>
                    <a:pt x="108" y="446"/>
                    <a:pt x="117" y="454"/>
                    <a:pt x="128" y="454"/>
                  </a:cubicBezTo>
                  <a:cubicBezTo>
                    <a:pt x="128" y="454"/>
                    <a:pt x="128" y="454"/>
                    <a:pt x="129" y="454"/>
                  </a:cubicBezTo>
                  <a:cubicBezTo>
                    <a:pt x="139" y="454"/>
                    <a:pt x="148" y="446"/>
                    <a:pt x="149" y="437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9" y="430"/>
                    <a:pt x="146" y="298"/>
                    <a:pt x="143" y="200"/>
                  </a:cubicBezTo>
                  <a:cubicBezTo>
                    <a:pt x="156" y="218"/>
                    <a:pt x="156" y="218"/>
                    <a:pt x="156" y="218"/>
                  </a:cubicBezTo>
                  <a:cubicBezTo>
                    <a:pt x="156" y="218"/>
                    <a:pt x="157" y="219"/>
                    <a:pt x="157" y="219"/>
                  </a:cubicBezTo>
                  <a:cubicBezTo>
                    <a:pt x="215" y="251"/>
                    <a:pt x="215" y="251"/>
                    <a:pt x="215" y="251"/>
                  </a:cubicBezTo>
                  <a:cubicBezTo>
                    <a:pt x="219" y="254"/>
                    <a:pt x="223" y="254"/>
                    <a:pt x="226" y="253"/>
                  </a:cubicBezTo>
                  <a:cubicBezTo>
                    <a:pt x="227" y="254"/>
                    <a:pt x="229" y="254"/>
                    <a:pt x="230" y="254"/>
                  </a:cubicBezTo>
                  <a:cubicBezTo>
                    <a:pt x="232" y="254"/>
                    <a:pt x="235" y="253"/>
                    <a:pt x="237" y="252"/>
                  </a:cubicBezTo>
                  <a:cubicBezTo>
                    <a:pt x="295" y="219"/>
                    <a:pt x="295" y="219"/>
                    <a:pt x="295" y="219"/>
                  </a:cubicBezTo>
                  <a:cubicBezTo>
                    <a:pt x="296" y="219"/>
                    <a:pt x="297" y="218"/>
                    <a:pt x="297" y="218"/>
                  </a:cubicBezTo>
                  <a:cubicBezTo>
                    <a:pt x="310" y="200"/>
                    <a:pt x="310" y="200"/>
                    <a:pt x="310" y="200"/>
                  </a:cubicBezTo>
                  <a:cubicBezTo>
                    <a:pt x="307" y="298"/>
                    <a:pt x="304" y="430"/>
                    <a:pt x="303" y="436"/>
                  </a:cubicBezTo>
                  <a:cubicBezTo>
                    <a:pt x="303" y="436"/>
                    <a:pt x="303" y="436"/>
                    <a:pt x="303" y="437"/>
                  </a:cubicBezTo>
                  <a:cubicBezTo>
                    <a:pt x="305" y="447"/>
                    <a:pt x="314" y="454"/>
                    <a:pt x="325" y="454"/>
                  </a:cubicBezTo>
                  <a:cubicBezTo>
                    <a:pt x="336" y="454"/>
                    <a:pt x="345" y="446"/>
                    <a:pt x="345" y="436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60" y="436"/>
                    <a:pt x="360" y="436"/>
                    <a:pt x="360" y="436"/>
                  </a:cubicBezTo>
                  <a:cubicBezTo>
                    <a:pt x="361" y="446"/>
                    <a:pt x="369" y="454"/>
                    <a:pt x="380" y="454"/>
                  </a:cubicBezTo>
                  <a:cubicBezTo>
                    <a:pt x="381" y="454"/>
                    <a:pt x="381" y="454"/>
                    <a:pt x="381" y="454"/>
                  </a:cubicBezTo>
                  <a:cubicBezTo>
                    <a:pt x="392" y="454"/>
                    <a:pt x="401" y="446"/>
                    <a:pt x="402" y="437"/>
                  </a:cubicBezTo>
                  <a:cubicBezTo>
                    <a:pt x="402" y="436"/>
                    <a:pt x="402" y="436"/>
                    <a:pt x="402" y="436"/>
                  </a:cubicBezTo>
                  <a:cubicBezTo>
                    <a:pt x="402" y="433"/>
                    <a:pt x="401" y="404"/>
                    <a:pt x="400" y="286"/>
                  </a:cubicBezTo>
                  <a:cubicBezTo>
                    <a:pt x="401" y="286"/>
                    <a:pt x="402" y="286"/>
                    <a:pt x="403" y="286"/>
                  </a:cubicBezTo>
                  <a:cubicBezTo>
                    <a:pt x="409" y="286"/>
                    <a:pt x="415" y="282"/>
                    <a:pt x="418" y="277"/>
                  </a:cubicBezTo>
                  <a:cubicBezTo>
                    <a:pt x="449" y="204"/>
                    <a:pt x="449" y="204"/>
                    <a:pt x="449" y="204"/>
                  </a:cubicBezTo>
                  <a:cubicBezTo>
                    <a:pt x="453" y="195"/>
                    <a:pt x="452" y="186"/>
                    <a:pt x="448" y="177"/>
                  </a:cubicBezTo>
                  <a:close/>
                  <a:moveTo>
                    <a:pt x="230" y="241"/>
                  </a:moveTo>
                  <a:cubicBezTo>
                    <a:pt x="227" y="244"/>
                    <a:pt x="223" y="245"/>
                    <a:pt x="220" y="243"/>
                  </a:cubicBezTo>
                  <a:cubicBezTo>
                    <a:pt x="163" y="211"/>
                    <a:pt x="163" y="211"/>
                    <a:pt x="163" y="211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2" y="171"/>
                    <a:pt x="142" y="160"/>
                    <a:pt x="142" y="150"/>
                  </a:cubicBezTo>
                  <a:cubicBezTo>
                    <a:pt x="142" y="147"/>
                    <a:pt x="140" y="145"/>
                    <a:pt x="137" y="145"/>
                  </a:cubicBezTo>
                  <a:cubicBezTo>
                    <a:pt x="137" y="145"/>
                    <a:pt x="137" y="145"/>
                    <a:pt x="137" y="145"/>
                  </a:cubicBezTo>
                  <a:cubicBezTo>
                    <a:pt x="134" y="145"/>
                    <a:pt x="132" y="148"/>
                    <a:pt x="132" y="150"/>
                  </a:cubicBezTo>
                  <a:cubicBezTo>
                    <a:pt x="132" y="150"/>
                    <a:pt x="133" y="164"/>
                    <a:pt x="133" y="185"/>
                  </a:cubicBezTo>
                  <a:cubicBezTo>
                    <a:pt x="133" y="185"/>
                    <a:pt x="133" y="185"/>
                    <a:pt x="133" y="185"/>
                  </a:cubicBezTo>
                  <a:cubicBezTo>
                    <a:pt x="134" y="213"/>
                    <a:pt x="135" y="253"/>
                    <a:pt x="136" y="293"/>
                  </a:cubicBezTo>
                  <a:cubicBezTo>
                    <a:pt x="137" y="329"/>
                    <a:pt x="138" y="365"/>
                    <a:pt x="139" y="392"/>
                  </a:cubicBezTo>
                  <a:cubicBezTo>
                    <a:pt x="139" y="405"/>
                    <a:pt x="139" y="416"/>
                    <a:pt x="140" y="424"/>
                  </a:cubicBezTo>
                  <a:cubicBezTo>
                    <a:pt x="140" y="430"/>
                    <a:pt x="140" y="433"/>
                    <a:pt x="140" y="436"/>
                  </a:cubicBezTo>
                  <a:cubicBezTo>
                    <a:pt x="140" y="436"/>
                    <a:pt x="140" y="436"/>
                    <a:pt x="140" y="436"/>
                  </a:cubicBezTo>
                  <a:cubicBezTo>
                    <a:pt x="140" y="441"/>
                    <a:pt x="134" y="445"/>
                    <a:pt x="128" y="444"/>
                  </a:cubicBezTo>
                  <a:cubicBezTo>
                    <a:pt x="122" y="444"/>
                    <a:pt x="117" y="440"/>
                    <a:pt x="117" y="435"/>
                  </a:cubicBezTo>
                  <a:cubicBezTo>
                    <a:pt x="105" y="281"/>
                    <a:pt x="105" y="281"/>
                    <a:pt x="105" y="281"/>
                  </a:cubicBezTo>
                  <a:cubicBezTo>
                    <a:pt x="105" y="279"/>
                    <a:pt x="103" y="277"/>
                    <a:pt x="100" y="277"/>
                  </a:cubicBezTo>
                  <a:cubicBezTo>
                    <a:pt x="98" y="277"/>
                    <a:pt x="96" y="279"/>
                    <a:pt x="96" y="281"/>
                  </a:cubicBezTo>
                  <a:cubicBezTo>
                    <a:pt x="84" y="435"/>
                    <a:pt x="84" y="435"/>
                    <a:pt x="84" y="435"/>
                  </a:cubicBezTo>
                  <a:cubicBezTo>
                    <a:pt x="83" y="440"/>
                    <a:pt x="78" y="444"/>
                    <a:pt x="72" y="444"/>
                  </a:cubicBezTo>
                  <a:cubicBezTo>
                    <a:pt x="66" y="445"/>
                    <a:pt x="61" y="441"/>
                    <a:pt x="60" y="436"/>
                  </a:cubicBezTo>
                  <a:cubicBezTo>
                    <a:pt x="60" y="436"/>
                    <a:pt x="60" y="436"/>
                    <a:pt x="60" y="436"/>
                  </a:cubicBezTo>
                  <a:cubicBezTo>
                    <a:pt x="61" y="433"/>
                    <a:pt x="61" y="429"/>
                    <a:pt x="61" y="422"/>
                  </a:cubicBezTo>
                  <a:cubicBezTo>
                    <a:pt x="61" y="413"/>
                    <a:pt x="61" y="401"/>
                    <a:pt x="61" y="386"/>
                  </a:cubicBezTo>
                  <a:cubicBezTo>
                    <a:pt x="61" y="357"/>
                    <a:pt x="62" y="318"/>
                    <a:pt x="62" y="281"/>
                  </a:cubicBezTo>
                  <a:cubicBezTo>
                    <a:pt x="67" y="277"/>
                    <a:pt x="69" y="271"/>
                    <a:pt x="67" y="265"/>
                  </a:cubicBezTo>
                  <a:cubicBezTo>
                    <a:pt x="67" y="265"/>
                    <a:pt x="67" y="265"/>
                    <a:pt x="67" y="264"/>
                  </a:cubicBezTo>
                  <a:cubicBezTo>
                    <a:pt x="67" y="263"/>
                    <a:pt x="65" y="258"/>
                    <a:pt x="62" y="249"/>
                  </a:cubicBezTo>
                  <a:cubicBezTo>
                    <a:pt x="63" y="197"/>
                    <a:pt x="63" y="169"/>
                    <a:pt x="63" y="169"/>
                  </a:cubicBezTo>
                  <a:cubicBezTo>
                    <a:pt x="63" y="167"/>
                    <a:pt x="61" y="165"/>
                    <a:pt x="59" y="165"/>
                  </a:cubicBezTo>
                  <a:cubicBezTo>
                    <a:pt x="58" y="164"/>
                    <a:pt x="55" y="165"/>
                    <a:pt x="54" y="166"/>
                  </a:cubicBezTo>
                  <a:cubicBezTo>
                    <a:pt x="35" y="193"/>
                    <a:pt x="35" y="193"/>
                    <a:pt x="35" y="193"/>
                  </a:cubicBezTo>
                  <a:cubicBezTo>
                    <a:pt x="34" y="194"/>
                    <a:pt x="34" y="195"/>
                    <a:pt x="34" y="197"/>
                  </a:cubicBezTo>
                  <a:cubicBezTo>
                    <a:pt x="34" y="197"/>
                    <a:pt x="40" y="215"/>
                    <a:pt x="46" y="232"/>
                  </a:cubicBezTo>
                  <a:cubicBezTo>
                    <a:pt x="49" y="239"/>
                    <a:pt x="51" y="246"/>
                    <a:pt x="53" y="252"/>
                  </a:cubicBezTo>
                  <a:cubicBezTo>
                    <a:pt x="53" y="252"/>
                    <a:pt x="53" y="252"/>
                    <a:pt x="53" y="252"/>
                  </a:cubicBezTo>
                  <a:cubicBezTo>
                    <a:pt x="54" y="254"/>
                    <a:pt x="54" y="255"/>
                    <a:pt x="55" y="257"/>
                  </a:cubicBezTo>
                  <a:cubicBezTo>
                    <a:pt x="56" y="262"/>
                    <a:pt x="58" y="265"/>
                    <a:pt x="59" y="267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9" y="271"/>
                    <a:pt x="57" y="274"/>
                    <a:pt x="53" y="276"/>
                  </a:cubicBezTo>
                  <a:cubicBezTo>
                    <a:pt x="49" y="277"/>
                    <a:pt x="45" y="276"/>
                    <a:pt x="44" y="273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0" y="194"/>
                    <a:pt x="10" y="188"/>
                    <a:pt x="13" y="182"/>
                  </a:cubicBezTo>
                  <a:cubicBezTo>
                    <a:pt x="47" y="128"/>
                    <a:pt x="47" y="128"/>
                    <a:pt x="47" y="128"/>
                  </a:cubicBezTo>
                  <a:cubicBezTo>
                    <a:pt x="58" y="112"/>
                    <a:pt x="63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128" y="105"/>
                    <a:pt x="136" y="118"/>
                    <a:pt x="140" y="126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9" y="141"/>
                    <a:pt x="177" y="190"/>
                    <a:pt x="177" y="191"/>
                  </a:cubicBezTo>
                  <a:cubicBezTo>
                    <a:pt x="178" y="191"/>
                    <a:pt x="178" y="192"/>
                    <a:pt x="178" y="192"/>
                  </a:cubicBezTo>
                  <a:cubicBezTo>
                    <a:pt x="178" y="192"/>
                    <a:pt x="191" y="202"/>
                    <a:pt x="204" y="212"/>
                  </a:cubicBezTo>
                  <a:cubicBezTo>
                    <a:pt x="211" y="217"/>
                    <a:pt x="217" y="221"/>
                    <a:pt x="222" y="225"/>
                  </a:cubicBezTo>
                  <a:cubicBezTo>
                    <a:pt x="226" y="228"/>
                    <a:pt x="228" y="230"/>
                    <a:pt x="230" y="231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2" y="233"/>
                    <a:pt x="232" y="238"/>
                    <a:pt x="230" y="241"/>
                  </a:cubicBezTo>
                  <a:close/>
                  <a:moveTo>
                    <a:pt x="53" y="183"/>
                  </a:moveTo>
                  <a:cubicBezTo>
                    <a:pt x="53" y="192"/>
                    <a:pt x="53" y="206"/>
                    <a:pt x="53" y="223"/>
                  </a:cubicBezTo>
                  <a:cubicBezTo>
                    <a:pt x="50" y="214"/>
                    <a:pt x="47" y="204"/>
                    <a:pt x="44" y="196"/>
                  </a:cubicBezTo>
                  <a:lnTo>
                    <a:pt x="53" y="183"/>
                  </a:lnTo>
                  <a:close/>
                  <a:moveTo>
                    <a:pt x="440" y="201"/>
                  </a:moveTo>
                  <a:cubicBezTo>
                    <a:pt x="409" y="273"/>
                    <a:pt x="409" y="273"/>
                    <a:pt x="409" y="273"/>
                  </a:cubicBezTo>
                  <a:cubicBezTo>
                    <a:pt x="408" y="276"/>
                    <a:pt x="404" y="277"/>
                    <a:pt x="400" y="276"/>
                  </a:cubicBezTo>
                  <a:cubicBezTo>
                    <a:pt x="396" y="274"/>
                    <a:pt x="394" y="271"/>
                    <a:pt x="394" y="267"/>
                  </a:cubicBezTo>
                  <a:cubicBezTo>
                    <a:pt x="394" y="267"/>
                    <a:pt x="394" y="267"/>
                    <a:pt x="394" y="267"/>
                  </a:cubicBezTo>
                  <a:cubicBezTo>
                    <a:pt x="395" y="265"/>
                    <a:pt x="396" y="262"/>
                    <a:pt x="398" y="257"/>
                  </a:cubicBezTo>
                  <a:cubicBezTo>
                    <a:pt x="399" y="255"/>
                    <a:pt x="399" y="254"/>
                    <a:pt x="400" y="252"/>
                  </a:cubicBezTo>
                  <a:cubicBezTo>
                    <a:pt x="400" y="252"/>
                    <a:pt x="400" y="252"/>
                    <a:pt x="400" y="252"/>
                  </a:cubicBezTo>
                  <a:cubicBezTo>
                    <a:pt x="402" y="246"/>
                    <a:pt x="404" y="239"/>
                    <a:pt x="407" y="232"/>
                  </a:cubicBezTo>
                  <a:cubicBezTo>
                    <a:pt x="413" y="215"/>
                    <a:pt x="419" y="197"/>
                    <a:pt x="419" y="197"/>
                  </a:cubicBezTo>
                  <a:cubicBezTo>
                    <a:pt x="419" y="195"/>
                    <a:pt x="419" y="194"/>
                    <a:pt x="418" y="193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7" y="165"/>
                    <a:pt x="395" y="164"/>
                    <a:pt x="393" y="165"/>
                  </a:cubicBezTo>
                  <a:cubicBezTo>
                    <a:pt x="391" y="165"/>
                    <a:pt x="390" y="167"/>
                    <a:pt x="390" y="169"/>
                  </a:cubicBezTo>
                  <a:cubicBezTo>
                    <a:pt x="390" y="169"/>
                    <a:pt x="390" y="197"/>
                    <a:pt x="391" y="249"/>
                  </a:cubicBezTo>
                  <a:cubicBezTo>
                    <a:pt x="388" y="258"/>
                    <a:pt x="386" y="263"/>
                    <a:pt x="386" y="264"/>
                  </a:cubicBezTo>
                  <a:cubicBezTo>
                    <a:pt x="386" y="265"/>
                    <a:pt x="385" y="265"/>
                    <a:pt x="385" y="265"/>
                  </a:cubicBezTo>
                  <a:cubicBezTo>
                    <a:pt x="384" y="271"/>
                    <a:pt x="386" y="277"/>
                    <a:pt x="391" y="281"/>
                  </a:cubicBezTo>
                  <a:cubicBezTo>
                    <a:pt x="391" y="318"/>
                    <a:pt x="392" y="357"/>
                    <a:pt x="392" y="386"/>
                  </a:cubicBezTo>
                  <a:cubicBezTo>
                    <a:pt x="392" y="401"/>
                    <a:pt x="392" y="413"/>
                    <a:pt x="392" y="422"/>
                  </a:cubicBezTo>
                  <a:cubicBezTo>
                    <a:pt x="392" y="429"/>
                    <a:pt x="392" y="433"/>
                    <a:pt x="392" y="436"/>
                  </a:cubicBezTo>
                  <a:cubicBezTo>
                    <a:pt x="392" y="436"/>
                    <a:pt x="392" y="436"/>
                    <a:pt x="392" y="436"/>
                  </a:cubicBezTo>
                  <a:cubicBezTo>
                    <a:pt x="392" y="441"/>
                    <a:pt x="387" y="445"/>
                    <a:pt x="381" y="444"/>
                  </a:cubicBezTo>
                  <a:cubicBezTo>
                    <a:pt x="375" y="444"/>
                    <a:pt x="370" y="440"/>
                    <a:pt x="369" y="435"/>
                  </a:cubicBezTo>
                  <a:cubicBezTo>
                    <a:pt x="357" y="281"/>
                    <a:pt x="357" y="281"/>
                    <a:pt x="357" y="281"/>
                  </a:cubicBezTo>
                  <a:cubicBezTo>
                    <a:pt x="357" y="279"/>
                    <a:pt x="355" y="277"/>
                    <a:pt x="353" y="277"/>
                  </a:cubicBezTo>
                  <a:cubicBezTo>
                    <a:pt x="350" y="277"/>
                    <a:pt x="348" y="279"/>
                    <a:pt x="348" y="281"/>
                  </a:cubicBezTo>
                  <a:cubicBezTo>
                    <a:pt x="336" y="435"/>
                    <a:pt x="336" y="435"/>
                    <a:pt x="336" y="435"/>
                  </a:cubicBezTo>
                  <a:cubicBezTo>
                    <a:pt x="336" y="440"/>
                    <a:pt x="331" y="444"/>
                    <a:pt x="325" y="444"/>
                  </a:cubicBezTo>
                  <a:cubicBezTo>
                    <a:pt x="319" y="445"/>
                    <a:pt x="313" y="441"/>
                    <a:pt x="313" y="436"/>
                  </a:cubicBezTo>
                  <a:cubicBezTo>
                    <a:pt x="313" y="436"/>
                    <a:pt x="313" y="436"/>
                    <a:pt x="313" y="436"/>
                  </a:cubicBezTo>
                  <a:cubicBezTo>
                    <a:pt x="313" y="433"/>
                    <a:pt x="313" y="430"/>
                    <a:pt x="313" y="424"/>
                  </a:cubicBezTo>
                  <a:cubicBezTo>
                    <a:pt x="313" y="416"/>
                    <a:pt x="314" y="405"/>
                    <a:pt x="314" y="392"/>
                  </a:cubicBezTo>
                  <a:cubicBezTo>
                    <a:pt x="315" y="365"/>
                    <a:pt x="316" y="329"/>
                    <a:pt x="317" y="293"/>
                  </a:cubicBezTo>
                  <a:cubicBezTo>
                    <a:pt x="318" y="253"/>
                    <a:pt x="319" y="213"/>
                    <a:pt x="320" y="185"/>
                  </a:cubicBezTo>
                  <a:cubicBezTo>
                    <a:pt x="320" y="185"/>
                    <a:pt x="320" y="185"/>
                    <a:pt x="320" y="185"/>
                  </a:cubicBezTo>
                  <a:cubicBezTo>
                    <a:pt x="320" y="164"/>
                    <a:pt x="320" y="150"/>
                    <a:pt x="320" y="150"/>
                  </a:cubicBezTo>
                  <a:cubicBezTo>
                    <a:pt x="321" y="148"/>
                    <a:pt x="318" y="145"/>
                    <a:pt x="316" y="145"/>
                  </a:cubicBezTo>
                  <a:cubicBezTo>
                    <a:pt x="316" y="145"/>
                    <a:pt x="316" y="145"/>
                    <a:pt x="316" y="145"/>
                  </a:cubicBezTo>
                  <a:cubicBezTo>
                    <a:pt x="313" y="145"/>
                    <a:pt x="311" y="147"/>
                    <a:pt x="311" y="150"/>
                  </a:cubicBezTo>
                  <a:cubicBezTo>
                    <a:pt x="311" y="160"/>
                    <a:pt x="310" y="171"/>
                    <a:pt x="310" y="183"/>
                  </a:cubicBezTo>
                  <a:cubicBezTo>
                    <a:pt x="290" y="211"/>
                    <a:pt x="290" y="211"/>
                    <a:pt x="290" y="211"/>
                  </a:cubicBezTo>
                  <a:cubicBezTo>
                    <a:pt x="241" y="239"/>
                    <a:pt x="241" y="239"/>
                    <a:pt x="241" y="239"/>
                  </a:cubicBezTo>
                  <a:cubicBezTo>
                    <a:pt x="242" y="233"/>
                    <a:pt x="240" y="228"/>
                    <a:pt x="236" y="224"/>
                  </a:cubicBezTo>
                  <a:cubicBezTo>
                    <a:pt x="236" y="224"/>
                    <a:pt x="236" y="224"/>
                    <a:pt x="236" y="223"/>
                  </a:cubicBezTo>
                  <a:cubicBezTo>
                    <a:pt x="235" y="223"/>
                    <a:pt x="235" y="223"/>
                    <a:pt x="234" y="222"/>
                  </a:cubicBezTo>
                  <a:cubicBezTo>
                    <a:pt x="249" y="211"/>
                    <a:pt x="274" y="192"/>
                    <a:pt x="274" y="192"/>
                  </a:cubicBezTo>
                  <a:cubicBezTo>
                    <a:pt x="275" y="192"/>
                    <a:pt x="275" y="191"/>
                    <a:pt x="276" y="191"/>
                  </a:cubicBezTo>
                  <a:cubicBezTo>
                    <a:pt x="276" y="190"/>
                    <a:pt x="304" y="141"/>
                    <a:pt x="312" y="127"/>
                  </a:cubicBezTo>
                  <a:cubicBezTo>
                    <a:pt x="313" y="126"/>
                    <a:pt x="313" y="126"/>
                    <a:pt x="313" y="126"/>
                  </a:cubicBezTo>
                  <a:cubicBezTo>
                    <a:pt x="317" y="118"/>
                    <a:pt x="324" y="105"/>
                    <a:pt x="356" y="105"/>
                  </a:cubicBezTo>
                  <a:cubicBezTo>
                    <a:pt x="356" y="105"/>
                    <a:pt x="356" y="105"/>
                    <a:pt x="356" y="105"/>
                  </a:cubicBezTo>
                  <a:cubicBezTo>
                    <a:pt x="390" y="105"/>
                    <a:pt x="395" y="112"/>
                    <a:pt x="406" y="128"/>
                  </a:cubicBezTo>
                  <a:cubicBezTo>
                    <a:pt x="440" y="182"/>
                    <a:pt x="440" y="182"/>
                    <a:pt x="440" y="182"/>
                  </a:cubicBezTo>
                  <a:cubicBezTo>
                    <a:pt x="443" y="188"/>
                    <a:pt x="443" y="194"/>
                    <a:pt x="440" y="201"/>
                  </a:cubicBezTo>
                  <a:close/>
                  <a:moveTo>
                    <a:pt x="400" y="183"/>
                  </a:moveTo>
                  <a:cubicBezTo>
                    <a:pt x="409" y="196"/>
                    <a:pt x="409" y="196"/>
                    <a:pt x="409" y="196"/>
                  </a:cubicBezTo>
                  <a:cubicBezTo>
                    <a:pt x="406" y="204"/>
                    <a:pt x="403" y="214"/>
                    <a:pt x="400" y="223"/>
                  </a:cubicBezTo>
                  <a:cubicBezTo>
                    <a:pt x="400" y="206"/>
                    <a:pt x="400" y="192"/>
                    <a:pt x="400" y="183"/>
                  </a:cubicBezTo>
                  <a:close/>
                  <a:moveTo>
                    <a:pt x="99" y="86"/>
                  </a:moveTo>
                  <a:cubicBezTo>
                    <a:pt x="122" y="86"/>
                    <a:pt x="142" y="67"/>
                    <a:pt x="142" y="43"/>
                  </a:cubicBezTo>
                  <a:cubicBezTo>
                    <a:pt x="142" y="19"/>
                    <a:pt x="122" y="0"/>
                    <a:pt x="99" y="0"/>
                  </a:cubicBezTo>
                  <a:cubicBezTo>
                    <a:pt x="75" y="0"/>
                    <a:pt x="55" y="19"/>
                    <a:pt x="55" y="43"/>
                  </a:cubicBezTo>
                  <a:cubicBezTo>
                    <a:pt x="55" y="67"/>
                    <a:pt x="75" y="86"/>
                    <a:pt x="99" y="86"/>
                  </a:cubicBezTo>
                  <a:close/>
                  <a:moveTo>
                    <a:pt x="99" y="9"/>
                  </a:moveTo>
                  <a:cubicBezTo>
                    <a:pt x="117" y="9"/>
                    <a:pt x="132" y="24"/>
                    <a:pt x="132" y="43"/>
                  </a:cubicBezTo>
                  <a:cubicBezTo>
                    <a:pt x="132" y="62"/>
                    <a:pt x="117" y="77"/>
                    <a:pt x="99" y="77"/>
                  </a:cubicBezTo>
                  <a:cubicBezTo>
                    <a:pt x="80" y="77"/>
                    <a:pt x="65" y="62"/>
                    <a:pt x="65" y="43"/>
                  </a:cubicBezTo>
                  <a:cubicBezTo>
                    <a:pt x="65" y="24"/>
                    <a:pt x="80" y="9"/>
                    <a:pt x="99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6D575CB-FB04-AC20-BBA3-320D05D7658C}"/>
              </a:ext>
            </a:extLst>
          </p:cNvPr>
          <p:cNvGrpSpPr/>
          <p:nvPr/>
        </p:nvGrpSpPr>
        <p:grpSpPr>
          <a:xfrm>
            <a:off x="5668762" y="5655006"/>
            <a:ext cx="360000" cy="360000"/>
            <a:chOff x="8183793" y="3059188"/>
            <a:chExt cx="1097280" cy="1097280"/>
          </a:xfrm>
        </p:grpSpPr>
        <p:sp>
          <p:nvSpPr>
            <p:cNvPr id="33" name="Oval 25">
              <a:extLst>
                <a:ext uri="{FF2B5EF4-FFF2-40B4-BE49-F238E27FC236}">
                  <a16:creationId xmlns:a16="http://schemas.microsoft.com/office/drawing/2014/main" id="{A8C91EE5-EEF8-CE72-8316-17AFD948E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3793" y="3059188"/>
              <a:ext cx="1097280" cy="10972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21">
              <a:extLst>
                <a:ext uri="{FF2B5EF4-FFF2-40B4-BE49-F238E27FC236}">
                  <a16:creationId xmlns:a16="http://schemas.microsoft.com/office/drawing/2014/main" id="{A8900250-3774-B3F9-5310-4075CEBF2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1696" y="3292956"/>
              <a:ext cx="582669" cy="582035"/>
            </a:xfrm>
            <a:custGeom>
              <a:avLst/>
              <a:gdLst>
                <a:gd name="T0" fmla="*/ 7 w 564"/>
                <a:gd name="T1" fmla="*/ 564 h 564"/>
                <a:gd name="T2" fmla="*/ 0 w 564"/>
                <a:gd name="T3" fmla="*/ 7 h 564"/>
                <a:gd name="T4" fmla="*/ 14 w 564"/>
                <a:gd name="T5" fmla="*/ 7 h 564"/>
                <a:gd name="T6" fmla="*/ 557 w 564"/>
                <a:gd name="T7" fmla="*/ 550 h 564"/>
                <a:gd name="T8" fmla="*/ 557 w 564"/>
                <a:gd name="T9" fmla="*/ 564 h 564"/>
                <a:gd name="T10" fmla="*/ 107 w 564"/>
                <a:gd name="T11" fmla="*/ 373 h 564"/>
                <a:gd name="T12" fmla="*/ 107 w 564"/>
                <a:gd name="T13" fmla="*/ 456 h 564"/>
                <a:gd name="T14" fmla="*/ 134 w 564"/>
                <a:gd name="T15" fmla="*/ 414 h 564"/>
                <a:gd name="T16" fmla="*/ 79 w 564"/>
                <a:gd name="T17" fmla="*/ 414 h 564"/>
                <a:gd name="T18" fmla="*/ 134 w 564"/>
                <a:gd name="T19" fmla="*/ 414 h 564"/>
                <a:gd name="T20" fmla="*/ 467 w 564"/>
                <a:gd name="T21" fmla="*/ 289 h 564"/>
                <a:gd name="T22" fmla="*/ 467 w 564"/>
                <a:gd name="T23" fmla="*/ 373 h 564"/>
                <a:gd name="T24" fmla="*/ 495 w 564"/>
                <a:gd name="T25" fmla="*/ 331 h 564"/>
                <a:gd name="T26" fmla="*/ 439 w 564"/>
                <a:gd name="T27" fmla="*/ 331 h 564"/>
                <a:gd name="T28" fmla="*/ 495 w 564"/>
                <a:gd name="T29" fmla="*/ 331 h 564"/>
                <a:gd name="T30" fmla="*/ 308 w 564"/>
                <a:gd name="T31" fmla="*/ 92 h 564"/>
                <a:gd name="T32" fmla="*/ 308 w 564"/>
                <a:gd name="T33" fmla="*/ 175 h 564"/>
                <a:gd name="T34" fmla="*/ 336 w 564"/>
                <a:gd name="T35" fmla="*/ 134 h 564"/>
                <a:gd name="T36" fmla="*/ 281 w 564"/>
                <a:gd name="T37" fmla="*/ 134 h 564"/>
                <a:gd name="T38" fmla="*/ 336 w 564"/>
                <a:gd name="T39" fmla="*/ 134 h 564"/>
                <a:gd name="T40" fmla="*/ 188 w 564"/>
                <a:gd name="T41" fmla="*/ 338 h 564"/>
                <a:gd name="T42" fmla="*/ 188 w 564"/>
                <a:gd name="T43" fmla="*/ 421 h 564"/>
                <a:gd name="T44" fmla="*/ 215 w 564"/>
                <a:gd name="T45" fmla="*/ 380 h 564"/>
                <a:gd name="T46" fmla="*/ 160 w 564"/>
                <a:gd name="T47" fmla="*/ 380 h 564"/>
                <a:gd name="T48" fmla="*/ 215 w 564"/>
                <a:gd name="T49" fmla="*/ 380 h 564"/>
                <a:gd name="T50" fmla="*/ 408 w 564"/>
                <a:gd name="T51" fmla="*/ 39 h 564"/>
                <a:gd name="T52" fmla="*/ 408 w 564"/>
                <a:gd name="T53" fmla="*/ 122 h 564"/>
                <a:gd name="T54" fmla="*/ 436 w 564"/>
                <a:gd name="T55" fmla="*/ 80 h 564"/>
                <a:gd name="T56" fmla="*/ 380 w 564"/>
                <a:gd name="T57" fmla="*/ 80 h 564"/>
                <a:gd name="T58" fmla="*/ 436 w 564"/>
                <a:gd name="T59" fmla="*/ 80 h 564"/>
                <a:gd name="T60" fmla="*/ 336 w 564"/>
                <a:gd name="T61" fmla="*/ 307 h 564"/>
                <a:gd name="T62" fmla="*/ 336 w 564"/>
                <a:gd name="T63" fmla="*/ 452 h 564"/>
                <a:gd name="T64" fmla="*/ 395 w 564"/>
                <a:gd name="T65" fmla="*/ 380 h 564"/>
                <a:gd name="T66" fmla="*/ 278 w 564"/>
                <a:gd name="T67" fmla="*/ 380 h 564"/>
                <a:gd name="T68" fmla="*/ 395 w 564"/>
                <a:gd name="T69" fmla="*/ 380 h 564"/>
                <a:gd name="T70" fmla="*/ 253 w 564"/>
                <a:gd name="T71" fmla="*/ 172 h 564"/>
                <a:gd name="T72" fmla="*/ 253 w 564"/>
                <a:gd name="T73" fmla="*/ 317 h 564"/>
                <a:gd name="T74" fmla="*/ 312 w 564"/>
                <a:gd name="T75" fmla="*/ 245 h 564"/>
                <a:gd name="T76" fmla="*/ 195 w 564"/>
                <a:gd name="T77" fmla="*/ 245 h 564"/>
                <a:gd name="T78" fmla="*/ 312 w 564"/>
                <a:gd name="T79" fmla="*/ 245 h 564"/>
                <a:gd name="T80" fmla="*/ 467 w 564"/>
                <a:gd name="T81" fmla="*/ 127 h 564"/>
                <a:gd name="T82" fmla="*/ 467 w 564"/>
                <a:gd name="T83" fmla="*/ 272 h 564"/>
                <a:gd name="T84" fmla="*/ 526 w 564"/>
                <a:gd name="T85" fmla="*/ 199 h 564"/>
                <a:gd name="T86" fmla="*/ 409 w 564"/>
                <a:gd name="T87" fmla="*/ 199 h 564"/>
                <a:gd name="T88" fmla="*/ 526 w 564"/>
                <a:gd name="T89" fmla="*/ 199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4" h="564">
                  <a:moveTo>
                    <a:pt x="557" y="564"/>
                  </a:move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1"/>
                    <a:pt x="0" y="55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550"/>
                    <a:pt x="14" y="550"/>
                    <a:pt x="14" y="550"/>
                  </a:cubicBezTo>
                  <a:cubicBezTo>
                    <a:pt x="557" y="550"/>
                    <a:pt x="557" y="550"/>
                    <a:pt x="557" y="550"/>
                  </a:cubicBezTo>
                  <a:cubicBezTo>
                    <a:pt x="561" y="550"/>
                    <a:pt x="564" y="553"/>
                    <a:pt x="564" y="557"/>
                  </a:cubicBezTo>
                  <a:cubicBezTo>
                    <a:pt x="564" y="561"/>
                    <a:pt x="561" y="564"/>
                    <a:pt x="557" y="564"/>
                  </a:cubicBezTo>
                  <a:close/>
                  <a:moveTo>
                    <a:pt x="148" y="414"/>
                  </a:moveTo>
                  <a:cubicBezTo>
                    <a:pt x="148" y="391"/>
                    <a:pt x="130" y="373"/>
                    <a:pt x="107" y="373"/>
                  </a:cubicBezTo>
                  <a:cubicBezTo>
                    <a:pt x="84" y="373"/>
                    <a:pt x="65" y="391"/>
                    <a:pt x="65" y="414"/>
                  </a:cubicBezTo>
                  <a:cubicBezTo>
                    <a:pt x="65" y="437"/>
                    <a:pt x="84" y="456"/>
                    <a:pt x="107" y="456"/>
                  </a:cubicBezTo>
                  <a:cubicBezTo>
                    <a:pt x="130" y="456"/>
                    <a:pt x="148" y="437"/>
                    <a:pt x="148" y="414"/>
                  </a:cubicBezTo>
                  <a:close/>
                  <a:moveTo>
                    <a:pt x="134" y="414"/>
                  </a:moveTo>
                  <a:cubicBezTo>
                    <a:pt x="134" y="430"/>
                    <a:pt x="122" y="442"/>
                    <a:pt x="107" y="442"/>
                  </a:cubicBezTo>
                  <a:cubicBezTo>
                    <a:pt x="91" y="442"/>
                    <a:pt x="79" y="430"/>
                    <a:pt x="79" y="414"/>
                  </a:cubicBezTo>
                  <a:cubicBezTo>
                    <a:pt x="79" y="399"/>
                    <a:pt x="91" y="387"/>
                    <a:pt x="107" y="387"/>
                  </a:cubicBezTo>
                  <a:cubicBezTo>
                    <a:pt x="122" y="387"/>
                    <a:pt x="134" y="399"/>
                    <a:pt x="134" y="414"/>
                  </a:cubicBezTo>
                  <a:close/>
                  <a:moveTo>
                    <a:pt x="509" y="331"/>
                  </a:moveTo>
                  <a:cubicBezTo>
                    <a:pt x="509" y="308"/>
                    <a:pt x="490" y="289"/>
                    <a:pt x="467" y="289"/>
                  </a:cubicBezTo>
                  <a:cubicBezTo>
                    <a:pt x="444" y="289"/>
                    <a:pt x="425" y="308"/>
                    <a:pt x="425" y="331"/>
                  </a:cubicBezTo>
                  <a:cubicBezTo>
                    <a:pt x="425" y="354"/>
                    <a:pt x="444" y="373"/>
                    <a:pt x="467" y="373"/>
                  </a:cubicBezTo>
                  <a:cubicBezTo>
                    <a:pt x="490" y="373"/>
                    <a:pt x="509" y="354"/>
                    <a:pt x="509" y="331"/>
                  </a:cubicBezTo>
                  <a:close/>
                  <a:moveTo>
                    <a:pt x="495" y="331"/>
                  </a:moveTo>
                  <a:cubicBezTo>
                    <a:pt x="495" y="346"/>
                    <a:pt x="482" y="359"/>
                    <a:pt x="467" y="359"/>
                  </a:cubicBezTo>
                  <a:cubicBezTo>
                    <a:pt x="452" y="359"/>
                    <a:pt x="439" y="346"/>
                    <a:pt x="439" y="331"/>
                  </a:cubicBezTo>
                  <a:cubicBezTo>
                    <a:pt x="439" y="316"/>
                    <a:pt x="452" y="303"/>
                    <a:pt x="467" y="303"/>
                  </a:cubicBezTo>
                  <a:cubicBezTo>
                    <a:pt x="482" y="303"/>
                    <a:pt x="495" y="316"/>
                    <a:pt x="495" y="331"/>
                  </a:cubicBezTo>
                  <a:close/>
                  <a:moveTo>
                    <a:pt x="350" y="134"/>
                  </a:moveTo>
                  <a:cubicBezTo>
                    <a:pt x="350" y="111"/>
                    <a:pt x="331" y="92"/>
                    <a:pt x="308" y="92"/>
                  </a:cubicBezTo>
                  <a:cubicBezTo>
                    <a:pt x="285" y="92"/>
                    <a:pt x="267" y="111"/>
                    <a:pt x="267" y="134"/>
                  </a:cubicBezTo>
                  <a:cubicBezTo>
                    <a:pt x="267" y="157"/>
                    <a:pt x="285" y="175"/>
                    <a:pt x="308" y="175"/>
                  </a:cubicBezTo>
                  <a:cubicBezTo>
                    <a:pt x="331" y="175"/>
                    <a:pt x="350" y="157"/>
                    <a:pt x="350" y="134"/>
                  </a:cubicBezTo>
                  <a:close/>
                  <a:moveTo>
                    <a:pt x="336" y="134"/>
                  </a:moveTo>
                  <a:cubicBezTo>
                    <a:pt x="336" y="149"/>
                    <a:pt x="324" y="161"/>
                    <a:pt x="308" y="161"/>
                  </a:cubicBezTo>
                  <a:cubicBezTo>
                    <a:pt x="293" y="161"/>
                    <a:pt x="281" y="149"/>
                    <a:pt x="281" y="134"/>
                  </a:cubicBezTo>
                  <a:cubicBezTo>
                    <a:pt x="281" y="118"/>
                    <a:pt x="293" y="106"/>
                    <a:pt x="308" y="106"/>
                  </a:cubicBezTo>
                  <a:cubicBezTo>
                    <a:pt x="324" y="106"/>
                    <a:pt x="336" y="118"/>
                    <a:pt x="336" y="134"/>
                  </a:cubicBezTo>
                  <a:close/>
                  <a:moveTo>
                    <a:pt x="229" y="380"/>
                  </a:moveTo>
                  <a:cubicBezTo>
                    <a:pt x="229" y="357"/>
                    <a:pt x="211" y="338"/>
                    <a:pt x="188" y="338"/>
                  </a:cubicBezTo>
                  <a:cubicBezTo>
                    <a:pt x="165" y="338"/>
                    <a:pt x="146" y="357"/>
                    <a:pt x="146" y="380"/>
                  </a:cubicBezTo>
                  <a:cubicBezTo>
                    <a:pt x="146" y="403"/>
                    <a:pt x="165" y="421"/>
                    <a:pt x="188" y="421"/>
                  </a:cubicBezTo>
                  <a:cubicBezTo>
                    <a:pt x="211" y="421"/>
                    <a:pt x="229" y="403"/>
                    <a:pt x="229" y="380"/>
                  </a:cubicBezTo>
                  <a:close/>
                  <a:moveTo>
                    <a:pt x="215" y="380"/>
                  </a:moveTo>
                  <a:cubicBezTo>
                    <a:pt x="215" y="395"/>
                    <a:pt x="203" y="407"/>
                    <a:pt x="188" y="407"/>
                  </a:cubicBezTo>
                  <a:cubicBezTo>
                    <a:pt x="172" y="407"/>
                    <a:pt x="160" y="395"/>
                    <a:pt x="160" y="380"/>
                  </a:cubicBezTo>
                  <a:cubicBezTo>
                    <a:pt x="160" y="364"/>
                    <a:pt x="172" y="352"/>
                    <a:pt x="188" y="352"/>
                  </a:cubicBezTo>
                  <a:cubicBezTo>
                    <a:pt x="203" y="352"/>
                    <a:pt x="215" y="364"/>
                    <a:pt x="215" y="380"/>
                  </a:cubicBezTo>
                  <a:close/>
                  <a:moveTo>
                    <a:pt x="450" y="80"/>
                  </a:moveTo>
                  <a:cubicBezTo>
                    <a:pt x="450" y="57"/>
                    <a:pt x="431" y="39"/>
                    <a:pt x="408" y="39"/>
                  </a:cubicBezTo>
                  <a:cubicBezTo>
                    <a:pt x="385" y="39"/>
                    <a:pt x="366" y="57"/>
                    <a:pt x="366" y="80"/>
                  </a:cubicBezTo>
                  <a:cubicBezTo>
                    <a:pt x="366" y="103"/>
                    <a:pt x="385" y="122"/>
                    <a:pt x="408" y="122"/>
                  </a:cubicBezTo>
                  <a:cubicBezTo>
                    <a:pt x="431" y="122"/>
                    <a:pt x="450" y="103"/>
                    <a:pt x="450" y="80"/>
                  </a:cubicBezTo>
                  <a:close/>
                  <a:moveTo>
                    <a:pt x="436" y="80"/>
                  </a:moveTo>
                  <a:cubicBezTo>
                    <a:pt x="436" y="96"/>
                    <a:pt x="423" y="108"/>
                    <a:pt x="408" y="108"/>
                  </a:cubicBezTo>
                  <a:cubicBezTo>
                    <a:pt x="393" y="108"/>
                    <a:pt x="380" y="96"/>
                    <a:pt x="380" y="80"/>
                  </a:cubicBezTo>
                  <a:cubicBezTo>
                    <a:pt x="380" y="65"/>
                    <a:pt x="393" y="53"/>
                    <a:pt x="408" y="53"/>
                  </a:cubicBezTo>
                  <a:cubicBezTo>
                    <a:pt x="423" y="53"/>
                    <a:pt x="436" y="65"/>
                    <a:pt x="436" y="80"/>
                  </a:cubicBezTo>
                  <a:close/>
                  <a:moveTo>
                    <a:pt x="409" y="380"/>
                  </a:moveTo>
                  <a:cubicBezTo>
                    <a:pt x="409" y="340"/>
                    <a:pt x="376" y="307"/>
                    <a:pt x="336" y="307"/>
                  </a:cubicBezTo>
                  <a:cubicBezTo>
                    <a:pt x="296" y="307"/>
                    <a:pt x="264" y="340"/>
                    <a:pt x="264" y="380"/>
                  </a:cubicBezTo>
                  <a:cubicBezTo>
                    <a:pt x="264" y="420"/>
                    <a:pt x="296" y="452"/>
                    <a:pt x="336" y="452"/>
                  </a:cubicBezTo>
                  <a:cubicBezTo>
                    <a:pt x="376" y="452"/>
                    <a:pt x="409" y="420"/>
                    <a:pt x="409" y="380"/>
                  </a:cubicBezTo>
                  <a:close/>
                  <a:moveTo>
                    <a:pt x="395" y="380"/>
                  </a:moveTo>
                  <a:cubicBezTo>
                    <a:pt x="395" y="412"/>
                    <a:pt x="369" y="438"/>
                    <a:pt x="336" y="438"/>
                  </a:cubicBezTo>
                  <a:cubicBezTo>
                    <a:pt x="304" y="438"/>
                    <a:pt x="278" y="412"/>
                    <a:pt x="278" y="380"/>
                  </a:cubicBezTo>
                  <a:cubicBezTo>
                    <a:pt x="278" y="347"/>
                    <a:pt x="304" y="321"/>
                    <a:pt x="336" y="321"/>
                  </a:cubicBezTo>
                  <a:cubicBezTo>
                    <a:pt x="369" y="321"/>
                    <a:pt x="395" y="347"/>
                    <a:pt x="395" y="380"/>
                  </a:cubicBezTo>
                  <a:close/>
                  <a:moveTo>
                    <a:pt x="326" y="245"/>
                  </a:moveTo>
                  <a:cubicBezTo>
                    <a:pt x="326" y="205"/>
                    <a:pt x="293" y="172"/>
                    <a:pt x="253" y="172"/>
                  </a:cubicBezTo>
                  <a:cubicBezTo>
                    <a:pt x="213" y="172"/>
                    <a:pt x="181" y="205"/>
                    <a:pt x="181" y="245"/>
                  </a:cubicBezTo>
                  <a:cubicBezTo>
                    <a:pt x="181" y="285"/>
                    <a:pt x="213" y="317"/>
                    <a:pt x="253" y="317"/>
                  </a:cubicBezTo>
                  <a:cubicBezTo>
                    <a:pt x="293" y="317"/>
                    <a:pt x="326" y="285"/>
                    <a:pt x="326" y="245"/>
                  </a:cubicBezTo>
                  <a:close/>
                  <a:moveTo>
                    <a:pt x="312" y="245"/>
                  </a:moveTo>
                  <a:cubicBezTo>
                    <a:pt x="312" y="277"/>
                    <a:pt x="285" y="303"/>
                    <a:pt x="253" y="303"/>
                  </a:cubicBezTo>
                  <a:cubicBezTo>
                    <a:pt x="221" y="303"/>
                    <a:pt x="195" y="277"/>
                    <a:pt x="195" y="245"/>
                  </a:cubicBezTo>
                  <a:cubicBezTo>
                    <a:pt x="195" y="212"/>
                    <a:pt x="221" y="186"/>
                    <a:pt x="253" y="186"/>
                  </a:cubicBezTo>
                  <a:cubicBezTo>
                    <a:pt x="285" y="186"/>
                    <a:pt x="312" y="212"/>
                    <a:pt x="312" y="245"/>
                  </a:cubicBezTo>
                  <a:close/>
                  <a:moveTo>
                    <a:pt x="540" y="199"/>
                  </a:moveTo>
                  <a:cubicBezTo>
                    <a:pt x="540" y="159"/>
                    <a:pt x="507" y="127"/>
                    <a:pt x="467" y="127"/>
                  </a:cubicBezTo>
                  <a:cubicBezTo>
                    <a:pt x="427" y="127"/>
                    <a:pt x="395" y="159"/>
                    <a:pt x="395" y="199"/>
                  </a:cubicBezTo>
                  <a:cubicBezTo>
                    <a:pt x="395" y="239"/>
                    <a:pt x="427" y="272"/>
                    <a:pt x="467" y="272"/>
                  </a:cubicBezTo>
                  <a:cubicBezTo>
                    <a:pt x="507" y="272"/>
                    <a:pt x="540" y="239"/>
                    <a:pt x="540" y="199"/>
                  </a:cubicBezTo>
                  <a:close/>
                  <a:moveTo>
                    <a:pt x="526" y="199"/>
                  </a:moveTo>
                  <a:cubicBezTo>
                    <a:pt x="526" y="231"/>
                    <a:pt x="499" y="258"/>
                    <a:pt x="467" y="258"/>
                  </a:cubicBezTo>
                  <a:cubicBezTo>
                    <a:pt x="435" y="258"/>
                    <a:pt x="409" y="231"/>
                    <a:pt x="409" y="199"/>
                  </a:cubicBezTo>
                  <a:cubicBezTo>
                    <a:pt x="409" y="167"/>
                    <a:pt x="435" y="141"/>
                    <a:pt x="467" y="141"/>
                  </a:cubicBezTo>
                  <a:cubicBezTo>
                    <a:pt x="499" y="141"/>
                    <a:pt x="526" y="167"/>
                    <a:pt x="526" y="1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91211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2292 0.0007 L -3.54167E-6 -2.96296E-6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146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FEDE8-22DF-4B86-B3DB-3D6FB9AC2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000" dirty="0"/>
              <a:t>PERFORMANCE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C36987-A310-48AC-8249-75AC8338C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4712" y="6356350"/>
            <a:ext cx="255263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03CE016-924C-46A7-8AEC-BFCF8FF176AB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1">
            <a:extLst>
              <a:ext uri="{FF2B5EF4-FFF2-40B4-BE49-F238E27FC236}">
                <a16:creationId xmlns:a16="http://schemas.microsoft.com/office/drawing/2014/main" id="{05D216B9-43ED-4298-AA20-3A2EFAFAA891}"/>
              </a:ext>
            </a:extLst>
          </p:cNvPr>
          <p:cNvSpPr txBox="1">
            <a:spLocks/>
          </p:cNvSpPr>
          <p:nvPr/>
        </p:nvSpPr>
        <p:spPr>
          <a:xfrm>
            <a:off x="4034993" y="1097404"/>
            <a:ext cx="4122014" cy="24929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High-Level Key Performance Indicators</a:t>
            </a:r>
          </a:p>
        </p:txBody>
      </p:sp>
      <p:sp>
        <p:nvSpPr>
          <p:cNvPr id="55" name="Text Box 33">
            <a:extLst>
              <a:ext uri="{FF2B5EF4-FFF2-40B4-BE49-F238E27FC236}">
                <a16:creationId xmlns:a16="http://schemas.microsoft.com/office/drawing/2014/main" id="{B02A7E50-31D0-4ED1-B3D9-0C593D54AB8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27477" y="5928870"/>
            <a:ext cx="6172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108103" y="3181507"/>
            <a:ext cx="4368574" cy="1077274"/>
            <a:chOff x="1108103" y="3181507"/>
            <a:chExt cx="4368574" cy="1077274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ABF5D407-FA2F-4E80-A212-6FED7DD6C6E2}"/>
                </a:ext>
              </a:extLst>
            </p:cNvPr>
            <p:cNvSpPr/>
            <p:nvPr/>
          </p:nvSpPr>
          <p:spPr>
            <a:xfrm>
              <a:off x="2913628" y="3319235"/>
              <a:ext cx="2416317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BD0D9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OTAL NUMBER OF FILMS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FBA65829-7FB2-47B7-8748-E05DE12B09CB}"/>
                </a:ext>
              </a:extLst>
            </p:cNvPr>
            <p:cNvSpPr/>
            <p:nvPr/>
          </p:nvSpPr>
          <p:spPr>
            <a:xfrm>
              <a:off x="2913629" y="3613223"/>
              <a:ext cx="2563048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959</a:t>
              </a:r>
            </a:p>
          </p:txBody>
        </p:sp>
        <p:sp>
          <p:nvSpPr>
            <p:cNvPr id="174" name="Rectangle: Top Corners Rounded 173">
              <a:extLst>
                <a:ext uri="{FF2B5EF4-FFF2-40B4-BE49-F238E27FC236}">
                  <a16:creationId xmlns:a16="http://schemas.microsoft.com/office/drawing/2014/main" id="{94B801E2-E774-47AF-BEA6-D8FDC2912605}"/>
                </a:ext>
              </a:extLst>
            </p:cNvPr>
            <p:cNvSpPr/>
            <p:nvPr/>
          </p:nvSpPr>
          <p:spPr>
            <a:xfrm rot="5400000" flipH="1" flipV="1">
              <a:off x="1391140" y="3263752"/>
              <a:ext cx="346707" cy="91278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" lIns="72000" rIns="72000" bIns="43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rPr>
                <a:t>02</a:t>
              </a:r>
              <a:endParaRPr kumimoji="0" lang="e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DA2C0665-3E81-4322-BBCD-D2B3ADC16BAF}"/>
                </a:ext>
              </a:extLst>
            </p:cNvPr>
            <p:cNvSpPr/>
            <p:nvPr/>
          </p:nvSpPr>
          <p:spPr>
            <a:xfrm flipH="1">
              <a:off x="1669706" y="3181507"/>
              <a:ext cx="1077274" cy="10772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0B3C4B5E-E23F-41F0-A7DD-DFDC02446D95}"/>
                </a:ext>
              </a:extLst>
            </p:cNvPr>
            <p:cNvSpPr/>
            <p:nvPr/>
          </p:nvSpPr>
          <p:spPr>
            <a:xfrm flipH="1">
              <a:off x="1781149" y="3292949"/>
              <a:ext cx="854389" cy="85438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innerShdw blurRad="63500" dist="50800" dir="13500000">
                <a:prstClr val="black">
                  <a:alpha val="1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1CBC3FEE-418F-4B0B-953B-30AF34915EED}"/>
                </a:ext>
              </a:extLst>
            </p:cNvPr>
            <p:cNvGrpSpPr/>
            <p:nvPr/>
          </p:nvGrpSpPr>
          <p:grpSpPr>
            <a:xfrm>
              <a:off x="2039274" y="3547106"/>
              <a:ext cx="338138" cy="346076"/>
              <a:chOff x="9175750" y="3617913"/>
              <a:chExt cx="338138" cy="346076"/>
            </a:xfrm>
          </p:grpSpPr>
          <p:sp>
            <p:nvSpPr>
              <p:cNvPr id="129" name="Oval 326">
                <a:extLst>
                  <a:ext uri="{FF2B5EF4-FFF2-40B4-BE49-F238E27FC236}">
                    <a16:creationId xmlns:a16="http://schemas.microsoft.com/office/drawing/2014/main" id="{1D989E6A-F6BA-4C4B-A8AC-CFDEC7343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05913" y="3617913"/>
                <a:ext cx="106363" cy="104775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0" name="Freeform 327">
                <a:extLst>
                  <a:ext uri="{FF2B5EF4-FFF2-40B4-BE49-F238E27FC236}">
                    <a16:creationId xmlns:a16="http://schemas.microsoft.com/office/drawing/2014/main" id="{F88E98FD-2C07-48A7-9B56-D196CF471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750" y="3752851"/>
                <a:ext cx="165100" cy="211138"/>
              </a:xfrm>
              <a:custGeom>
                <a:avLst/>
                <a:gdLst>
                  <a:gd name="T0" fmla="*/ 44 w 44"/>
                  <a:gd name="T1" fmla="*/ 0 h 56"/>
                  <a:gd name="T2" fmla="*/ 0 w 44"/>
                  <a:gd name="T3" fmla="*/ 0 h 56"/>
                  <a:gd name="T4" fmla="*/ 14 w 44"/>
                  <a:gd name="T5" fmla="*/ 30 h 56"/>
                  <a:gd name="T6" fmla="*/ 14 w 44"/>
                  <a:gd name="T7" fmla="*/ 56 h 56"/>
                  <a:gd name="T8" fmla="*/ 30 w 44"/>
                  <a:gd name="T9" fmla="*/ 56 h 56"/>
                  <a:gd name="T10" fmla="*/ 30 w 44"/>
                  <a:gd name="T11" fmla="*/ 30 h 56"/>
                  <a:gd name="T12" fmla="*/ 44 w 44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6">
                    <a:moveTo>
                      <a:pt x="4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7" y="26"/>
                      <a:pt x="14" y="30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7" y="26"/>
                      <a:pt x="44" y="16"/>
                      <a:pt x="4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1" name="Freeform 328">
                <a:extLst>
                  <a:ext uri="{FF2B5EF4-FFF2-40B4-BE49-F238E27FC236}">
                    <a16:creationId xmlns:a16="http://schemas.microsoft.com/office/drawing/2014/main" id="{09D60238-0889-4DA6-844E-4AA7245D7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4013" y="3752851"/>
                <a:ext cx="30163" cy="104775"/>
              </a:xfrm>
              <a:custGeom>
                <a:avLst/>
                <a:gdLst>
                  <a:gd name="T0" fmla="*/ 14 w 19"/>
                  <a:gd name="T1" fmla="*/ 0 h 66"/>
                  <a:gd name="T2" fmla="*/ 5 w 19"/>
                  <a:gd name="T3" fmla="*/ 0 h 66"/>
                  <a:gd name="T4" fmla="*/ 0 w 19"/>
                  <a:gd name="T5" fmla="*/ 57 h 66"/>
                  <a:gd name="T6" fmla="*/ 9 w 19"/>
                  <a:gd name="T7" fmla="*/ 66 h 66"/>
                  <a:gd name="T8" fmla="*/ 19 w 19"/>
                  <a:gd name="T9" fmla="*/ 57 h 66"/>
                  <a:gd name="T10" fmla="*/ 14 w 19"/>
                  <a:gd name="T11" fmla="*/ 0 h 66"/>
                  <a:gd name="T12" fmla="*/ 14 w 19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6">
                    <a:moveTo>
                      <a:pt x="14" y="0"/>
                    </a:moveTo>
                    <a:lnTo>
                      <a:pt x="5" y="0"/>
                    </a:lnTo>
                    <a:lnTo>
                      <a:pt x="0" y="57"/>
                    </a:lnTo>
                    <a:lnTo>
                      <a:pt x="9" y="66"/>
                    </a:lnTo>
                    <a:lnTo>
                      <a:pt x="19" y="57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2" name="Line 329">
                <a:extLst>
                  <a:ext uri="{FF2B5EF4-FFF2-40B4-BE49-F238E27FC236}">
                    <a16:creationId xmlns:a16="http://schemas.microsoft.com/office/drawing/2014/main" id="{8D4A311D-58C7-4741-9166-8C42B1EA20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356725" y="3643313"/>
                <a:ext cx="55563" cy="60325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3" name="Line 330">
                <a:extLst>
                  <a:ext uri="{FF2B5EF4-FFF2-40B4-BE49-F238E27FC236}">
                    <a16:creationId xmlns:a16="http://schemas.microsoft.com/office/drawing/2014/main" id="{0C332A9C-B37A-4DF0-A8C0-5A26808A3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356725" y="3643313"/>
                <a:ext cx="55563" cy="60325"/>
              </a:xfrm>
              <a:prstGeom prst="lin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4" name="Oval 331">
                <a:extLst>
                  <a:ext uri="{FF2B5EF4-FFF2-40B4-BE49-F238E27FC236}">
                    <a16:creationId xmlns:a16="http://schemas.microsoft.com/office/drawing/2014/main" id="{CF83EA27-5875-4803-82E7-665FEE5C4B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3563" y="3752851"/>
                <a:ext cx="60325" cy="60325"/>
              </a:xfrm>
              <a:prstGeom prst="ellips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5" name="Freeform 332">
                <a:extLst>
                  <a:ext uri="{FF2B5EF4-FFF2-40B4-BE49-F238E27FC236}">
                    <a16:creationId xmlns:a16="http://schemas.microsoft.com/office/drawing/2014/main" id="{86D89F27-3439-4906-8801-C4C1B1CA3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86888" y="3689351"/>
                <a:ext cx="112713" cy="96838"/>
              </a:xfrm>
              <a:custGeom>
                <a:avLst/>
                <a:gdLst>
                  <a:gd name="T0" fmla="*/ 0 w 30"/>
                  <a:gd name="T1" fmla="*/ 26 h 26"/>
                  <a:gd name="T2" fmla="*/ 30 w 30"/>
                  <a:gd name="T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0" h="26">
                    <a:moveTo>
                      <a:pt x="0" y="26"/>
                    </a:moveTo>
                    <a:cubicBezTo>
                      <a:pt x="6" y="14"/>
                      <a:pt x="17" y="4"/>
                      <a:pt x="3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6" name="Freeform 333">
                <a:extLst>
                  <a:ext uri="{FF2B5EF4-FFF2-40B4-BE49-F238E27FC236}">
                    <a16:creationId xmlns:a16="http://schemas.microsoft.com/office/drawing/2014/main" id="{1B1DC867-FCC6-4D38-80DE-2FCDCD885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53563" y="3676651"/>
                <a:ext cx="46038" cy="49213"/>
              </a:xfrm>
              <a:custGeom>
                <a:avLst/>
                <a:gdLst>
                  <a:gd name="T0" fmla="*/ 0 w 29"/>
                  <a:gd name="T1" fmla="*/ 0 h 31"/>
                  <a:gd name="T2" fmla="*/ 29 w 29"/>
                  <a:gd name="T3" fmla="*/ 8 h 31"/>
                  <a:gd name="T4" fmla="*/ 17 w 29"/>
                  <a:gd name="T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1">
                    <a:moveTo>
                      <a:pt x="0" y="0"/>
                    </a:moveTo>
                    <a:lnTo>
                      <a:pt x="29" y="8"/>
                    </a:lnTo>
                    <a:lnTo>
                      <a:pt x="17" y="31"/>
                    </a:ln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6221978" y="3181507"/>
            <a:ext cx="4468874" cy="1077274"/>
            <a:chOff x="6221978" y="3181507"/>
            <a:chExt cx="4468874" cy="1077274"/>
          </a:xfrm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32BCC9A1-C3EB-40C1-A043-238C7444B060}"/>
                </a:ext>
              </a:extLst>
            </p:cNvPr>
            <p:cNvSpPr/>
            <p:nvPr/>
          </p:nvSpPr>
          <p:spPr>
            <a:xfrm>
              <a:off x="8027503" y="3319235"/>
              <a:ext cx="2663347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BD0D9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HIGHEST GROSSING COUNTRY</a:t>
              </a: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23A84C0E-B9BC-4F25-837A-C8C0AF4EF045}"/>
                </a:ext>
              </a:extLst>
            </p:cNvPr>
            <p:cNvSpPr/>
            <p:nvPr/>
          </p:nvSpPr>
          <p:spPr>
            <a:xfrm>
              <a:off x="8027504" y="3613223"/>
              <a:ext cx="2663348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ndia</a:t>
              </a:r>
            </a:p>
          </p:txBody>
        </p:sp>
        <p:sp>
          <p:nvSpPr>
            <p:cNvPr id="197" name="Rectangle: Top Corners Rounded 196">
              <a:extLst>
                <a:ext uri="{FF2B5EF4-FFF2-40B4-BE49-F238E27FC236}">
                  <a16:creationId xmlns:a16="http://schemas.microsoft.com/office/drawing/2014/main" id="{83A10804-873E-4690-9B42-37F911DC81D3}"/>
                </a:ext>
              </a:extLst>
            </p:cNvPr>
            <p:cNvSpPr/>
            <p:nvPr/>
          </p:nvSpPr>
          <p:spPr>
            <a:xfrm rot="5400000" flipH="1" flipV="1">
              <a:off x="6505015" y="3263752"/>
              <a:ext cx="346707" cy="91278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" lIns="72000" rIns="72000" bIns="43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rPr>
                <a:t>05</a:t>
              </a:r>
              <a:endParaRPr kumimoji="0" lang="e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DBF858F5-72B8-4A25-86DE-1FDA966BB4D0}"/>
                </a:ext>
              </a:extLst>
            </p:cNvPr>
            <p:cNvSpPr/>
            <p:nvPr/>
          </p:nvSpPr>
          <p:spPr>
            <a:xfrm flipH="1">
              <a:off x="6783581" y="3181507"/>
              <a:ext cx="1077274" cy="10772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E366A036-1038-4324-9284-D8BAACAD9B25}"/>
                </a:ext>
              </a:extLst>
            </p:cNvPr>
            <p:cNvSpPr/>
            <p:nvPr/>
          </p:nvSpPr>
          <p:spPr>
            <a:xfrm flipH="1">
              <a:off x="6895024" y="3292949"/>
              <a:ext cx="854389" cy="85438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innerShdw blurRad="63500" dist="50800" dir="13500000">
                <a:prstClr val="black">
                  <a:alpha val="1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31E52608-E932-4BD2-B842-4BCCDB7E65C9}"/>
                </a:ext>
              </a:extLst>
            </p:cNvPr>
            <p:cNvGrpSpPr/>
            <p:nvPr/>
          </p:nvGrpSpPr>
          <p:grpSpPr>
            <a:xfrm>
              <a:off x="7145212" y="3547107"/>
              <a:ext cx="354013" cy="346075"/>
              <a:chOff x="1536700" y="3616325"/>
              <a:chExt cx="354013" cy="346075"/>
            </a:xfrm>
          </p:grpSpPr>
          <p:sp>
            <p:nvSpPr>
              <p:cNvPr id="138" name="Freeform 139">
                <a:extLst>
                  <a:ext uri="{FF2B5EF4-FFF2-40B4-BE49-F238E27FC236}">
                    <a16:creationId xmlns:a16="http://schemas.microsoft.com/office/drawing/2014/main" id="{5D8E5B7D-7A1D-47F3-8B47-FAFDA9240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463" y="3662363"/>
                <a:ext cx="90488" cy="82550"/>
              </a:xfrm>
              <a:custGeom>
                <a:avLst/>
                <a:gdLst>
                  <a:gd name="T0" fmla="*/ 29 w 57"/>
                  <a:gd name="T1" fmla="*/ 0 h 52"/>
                  <a:gd name="T2" fmla="*/ 38 w 57"/>
                  <a:gd name="T3" fmla="*/ 19 h 52"/>
                  <a:gd name="T4" fmla="*/ 57 w 57"/>
                  <a:gd name="T5" fmla="*/ 19 h 52"/>
                  <a:gd name="T6" fmla="*/ 40 w 57"/>
                  <a:gd name="T7" fmla="*/ 31 h 52"/>
                  <a:gd name="T8" fmla="*/ 48 w 57"/>
                  <a:gd name="T9" fmla="*/ 52 h 52"/>
                  <a:gd name="T10" fmla="*/ 29 w 57"/>
                  <a:gd name="T11" fmla="*/ 38 h 52"/>
                  <a:gd name="T12" fmla="*/ 10 w 57"/>
                  <a:gd name="T13" fmla="*/ 52 h 52"/>
                  <a:gd name="T14" fmla="*/ 17 w 57"/>
                  <a:gd name="T15" fmla="*/ 31 h 52"/>
                  <a:gd name="T16" fmla="*/ 0 w 57"/>
                  <a:gd name="T17" fmla="*/ 19 h 52"/>
                  <a:gd name="T18" fmla="*/ 19 w 57"/>
                  <a:gd name="T19" fmla="*/ 19 h 52"/>
                  <a:gd name="T20" fmla="*/ 29 w 57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52">
                    <a:moveTo>
                      <a:pt x="29" y="0"/>
                    </a:moveTo>
                    <a:lnTo>
                      <a:pt x="38" y="19"/>
                    </a:lnTo>
                    <a:lnTo>
                      <a:pt x="57" y="19"/>
                    </a:lnTo>
                    <a:lnTo>
                      <a:pt x="40" y="31"/>
                    </a:lnTo>
                    <a:lnTo>
                      <a:pt x="48" y="52"/>
                    </a:lnTo>
                    <a:lnTo>
                      <a:pt x="29" y="38"/>
                    </a:lnTo>
                    <a:lnTo>
                      <a:pt x="10" y="52"/>
                    </a:lnTo>
                    <a:lnTo>
                      <a:pt x="17" y="31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29" y="0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Freeform 140">
                <a:extLst>
                  <a:ext uri="{FF2B5EF4-FFF2-40B4-BE49-F238E27FC236}">
                    <a16:creationId xmlns:a16="http://schemas.microsoft.com/office/drawing/2014/main" id="{BB180030-C807-424F-AD45-E71CD20A9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6700" y="3646488"/>
                <a:ext cx="76200" cy="120650"/>
              </a:xfrm>
              <a:custGeom>
                <a:avLst/>
                <a:gdLst>
                  <a:gd name="T0" fmla="*/ 20 w 20"/>
                  <a:gd name="T1" fmla="*/ 32 h 32"/>
                  <a:gd name="T2" fmla="*/ 1 w 20"/>
                  <a:gd name="T3" fmla="*/ 0 h 32"/>
                  <a:gd name="T4" fmla="*/ 11 w 20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32">
                    <a:moveTo>
                      <a:pt x="20" y="32"/>
                    </a:moveTo>
                    <a:cubicBezTo>
                      <a:pt x="0" y="32"/>
                      <a:pt x="1" y="6"/>
                      <a:pt x="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Freeform 141">
                <a:extLst>
                  <a:ext uri="{FF2B5EF4-FFF2-40B4-BE49-F238E27FC236}">
                    <a16:creationId xmlns:a16="http://schemas.microsoft.com/office/drawing/2014/main" id="{5943CE44-F1FC-4219-8841-8162366CE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100" y="3646488"/>
                <a:ext cx="74613" cy="120650"/>
              </a:xfrm>
              <a:custGeom>
                <a:avLst/>
                <a:gdLst>
                  <a:gd name="T0" fmla="*/ 0 w 20"/>
                  <a:gd name="T1" fmla="*/ 32 h 32"/>
                  <a:gd name="T2" fmla="*/ 19 w 20"/>
                  <a:gd name="T3" fmla="*/ 0 h 32"/>
                  <a:gd name="T4" fmla="*/ 9 w 20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32">
                    <a:moveTo>
                      <a:pt x="0" y="32"/>
                    </a:moveTo>
                    <a:cubicBezTo>
                      <a:pt x="20" y="32"/>
                      <a:pt x="19" y="6"/>
                      <a:pt x="19" y="0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Freeform 142">
                <a:extLst>
                  <a:ext uri="{FF2B5EF4-FFF2-40B4-BE49-F238E27FC236}">
                    <a16:creationId xmlns:a16="http://schemas.microsoft.com/office/drawing/2014/main" id="{659A7F24-09FA-4345-AED9-1C866E566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7975" y="3616325"/>
                <a:ext cx="271463" cy="346075"/>
              </a:xfrm>
              <a:custGeom>
                <a:avLst/>
                <a:gdLst>
                  <a:gd name="T0" fmla="*/ 72 w 72"/>
                  <a:gd name="T1" fmla="*/ 0 h 92"/>
                  <a:gd name="T2" fmla="*/ 0 w 72"/>
                  <a:gd name="T3" fmla="*/ 0 h 92"/>
                  <a:gd name="T4" fmla="*/ 32 w 72"/>
                  <a:gd name="T5" fmla="*/ 66 h 92"/>
                  <a:gd name="T6" fmla="*/ 14 w 72"/>
                  <a:gd name="T7" fmla="*/ 84 h 92"/>
                  <a:gd name="T8" fmla="*/ 14 w 72"/>
                  <a:gd name="T9" fmla="*/ 92 h 92"/>
                  <a:gd name="T10" fmla="*/ 58 w 72"/>
                  <a:gd name="T11" fmla="*/ 92 h 92"/>
                  <a:gd name="T12" fmla="*/ 58 w 72"/>
                  <a:gd name="T13" fmla="*/ 84 h 92"/>
                  <a:gd name="T14" fmla="*/ 40 w 72"/>
                  <a:gd name="T15" fmla="*/ 66 h 92"/>
                  <a:gd name="T16" fmla="*/ 72 w 72"/>
                  <a:gd name="T1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92">
                    <a:moveTo>
                      <a:pt x="7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2"/>
                      <a:pt x="32" y="44"/>
                      <a:pt x="32" y="66"/>
                    </a:cubicBezTo>
                    <a:cubicBezTo>
                      <a:pt x="32" y="80"/>
                      <a:pt x="25" y="84"/>
                      <a:pt x="14" y="84"/>
                    </a:cubicBezTo>
                    <a:cubicBezTo>
                      <a:pt x="14" y="92"/>
                      <a:pt x="14" y="92"/>
                      <a:pt x="14" y="92"/>
                    </a:cubicBezTo>
                    <a:cubicBezTo>
                      <a:pt x="58" y="92"/>
                      <a:pt x="58" y="92"/>
                      <a:pt x="58" y="92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47" y="84"/>
                      <a:pt x="40" y="80"/>
                      <a:pt x="40" y="66"/>
                    </a:cubicBezTo>
                    <a:cubicBezTo>
                      <a:pt x="40" y="44"/>
                      <a:pt x="72" y="61"/>
                      <a:pt x="72" y="0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6221978" y="4329309"/>
            <a:ext cx="5523094" cy="1077274"/>
            <a:chOff x="6221978" y="4329309"/>
            <a:chExt cx="5523094" cy="1077274"/>
          </a:xfrm>
        </p:grpSpPr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169DD88A-B5D4-4CB1-AED4-97AAC17DBBC1}"/>
                </a:ext>
              </a:extLst>
            </p:cNvPr>
            <p:cNvSpPr/>
            <p:nvPr/>
          </p:nvSpPr>
          <p:spPr>
            <a:xfrm>
              <a:off x="7891702" y="4397093"/>
              <a:ext cx="3853370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0CF9B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VERAGE RENTAL DURATION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C1574BD3-41D7-4BA8-9C53-8DB36947AB11}"/>
                </a:ext>
              </a:extLst>
            </p:cNvPr>
            <p:cNvSpPr/>
            <p:nvPr/>
          </p:nvSpPr>
          <p:spPr>
            <a:xfrm>
              <a:off x="8027504" y="4761025"/>
              <a:ext cx="2663348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ive Days</a:t>
              </a:r>
            </a:p>
          </p:txBody>
        </p:sp>
        <p:sp>
          <p:nvSpPr>
            <p:cNvPr id="202" name="Rectangle: Top Corners Rounded 201">
              <a:extLst>
                <a:ext uri="{FF2B5EF4-FFF2-40B4-BE49-F238E27FC236}">
                  <a16:creationId xmlns:a16="http://schemas.microsoft.com/office/drawing/2014/main" id="{9F7A50CE-DD61-4624-AB54-882553FFE050}"/>
                </a:ext>
              </a:extLst>
            </p:cNvPr>
            <p:cNvSpPr/>
            <p:nvPr/>
          </p:nvSpPr>
          <p:spPr>
            <a:xfrm rot="5400000" flipH="1" flipV="1">
              <a:off x="6505015" y="4411554"/>
              <a:ext cx="346707" cy="91278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" lIns="72000" rIns="72000" bIns="43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rPr>
                <a:t>06</a:t>
              </a:r>
              <a:endParaRPr kumimoji="0" lang="e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5F933A4B-20E2-4CD3-A225-9C3FAE25E98D}"/>
                </a:ext>
              </a:extLst>
            </p:cNvPr>
            <p:cNvSpPr/>
            <p:nvPr/>
          </p:nvSpPr>
          <p:spPr>
            <a:xfrm flipH="1">
              <a:off x="6783581" y="4329309"/>
              <a:ext cx="1077274" cy="10772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03120F25-D279-4DAD-BBC1-ECCD282B57BB}"/>
                </a:ext>
              </a:extLst>
            </p:cNvPr>
            <p:cNvSpPr/>
            <p:nvPr/>
          </p:nvSpPr>
          <p:spPr>
            <a:xfrm flipH="1">
              <a:off x="6895024" y="4440751"/>
              <a:ext cx="854389" cy="85438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innerShdw blurRad="63500" dist="50800" dir="13500000">
                <a:prstClr val="black">
                  <a:alpha val="1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92E23070-5BD6-42AF-BEB5-082FA320358E}"/>
                </a:ext>
              </a:extLst>
            </p:cNvPr>
            <p:cNvGrpSpPr/>
            <p:nvPr/>
          </p:nvGrpSpPr>
          <p:grpSpPr>
            <a:xfrm>
              <a:off x="7089434" y="4635162"/>
              <a:ext cx="465568" cy="465568"/>
              <a:chOff x="8001000" y="2671763"/>
              <a:chExt cx="774700" cy="774700"/>
            </a:xfrm>
            <a:solidFill>
              <a:schemeClr val="bg1"/>
            </a:solidFill>
          </p:grpSpPr>
          <p:sp>
            <p:nvSpPr>
              <p:cNvPr id="119" name="Freeform 43">
                <a:extLst>
                  <a:ext uri="{FF2B5EF4-FFF2-40B4-BE49-F238E27FC236}">
                    <a16:creationId xmlns:a16="http://schemas.microsoft.com/office/drawing/2014/main" id="{98204C58-293F-413C-8983-FDD60B7EE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0" y="2995613"/>
                <a:ext cx="23813" cy="33338"/>
              </a:xfrm>
              <a:custGeom>
                <a:avLst/>
                <a:gdLst>
                  <a:gd name="T0" fmla="*/ 32 w 65"/>
                  <a:gd name="T1" fmla="*/ 0 h 87"/>
                  <a:gd name="T2" fmla="*/ 0 w 65"/>
                  <a:gd name="T3" fmla="*/ 32 h 87"/>
                  <a:gd name="T4" fmla="*/ 0 w 65"/>
                  <a:gd name="T5" fmla="*/ 54 h 87"/>
                  <a:gd name="T6" fmla="*/ 32 w 65"/>
                  <a:gd name="T7" fmla="*/ 87 h 87"/>
                  <a:gd name="T8" fmla="*/ 65 w 65"/>
                  <a:gd name="T9" fmla="*/ 54 h 87"/>
                  <a:gd name="T10" fmla="*/ 65 w 65"/>
                  <a:gd name="T11" fmla="*/ 32 h 87"/>
                  <a:gd name="T12" fmla="*/ 32 w 65"/>
                  <a:gd name="T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87">
                    <a:moveTo>
                      <a:pt x="32" y="0"/>
                    </a:moveTo>
                    <a:cubicBezTo>
                      <a:pt x="15" y="0"/>
                      <a:pt x="0" y="14"/>
                      <a:pt x="0" y="32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72"/>
                      <a:pt x="15" y="87"/>
                      <a:pt x="32" y="87"/>
                    </a:cubicBezTo>
                    <a:cubicBezTo>
                      <a:pt x="50" y="87"/>
                      <a:pt x="65" y="72"/>
                      <a:pt x="65" y="54"/>
                    </a:cubicBezTo>
                    <a:cubicBezTo>
                      <a:pt x="65" y="32"/>
                      <a:pt x="65" y="32"/>
                      <a:pt x="65" y="32"/>
                    </a:cubicBezTo>
                    <a:cubicBezTo>
                      <a:pt x="65" y="14"/>
                      <a:pt x="50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0" name="Freeform 44">
                <a:extLst>
                  <a:ext uri="{FF2B5EF4-FFF2-40B4-BE49-F238E27FC236}">
                    <a16:creationId xmlns:a16="http://schemas.microsoft.com/office/drawing/2014/main" id="{C0D40498-1F78-4919-B0A1-9DEC66926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4500" y="2954338"/>
                <a:ext cx="23813" cy="33338"/>
              </a:xfrm>
              <a:custGeom>
                <a:avLst/>
                <a:gdLst>
                  <a:gd name="T0" fmla="*/ 32 w 65"/>
                  <a:gd name="T1" fmla="*/ 0 h 87"/>
                  <a:gd name="T2" fmla="*/ 0 w 65"/>
                  <a:gd name="T3" fmla="*/ 32 h 87"/>
                  <a:gd name="T4" fmla="*/ 0 w 65"/>
                  <a:gd name="T5" fmla="*/ 55 h 87"/>
                  <a:gd name="T6" fmla="*/ 32 w 65"/>
                  <a:gd name="T7" fmla="*/ 87 h 87"/>
                  <a:gd name="T8" fmla="*/ 65 w 65"/>
                  <a:gd name="T9" fmla="*/ 55 h 87"/>
                  <a:gd name="T10" fmla="*/ 65 w 65"/>
                  <a:gd name="T11" fmla="*/ 32 h 87"/>
                  <a:gd name="T12" fmla="*/ 32 w 65"/>
                  <a:gd name="T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87">
                    <a:moveTo>
                      <a:pt x="32" y="0"/>
                    </a:moveTo>
                    <a:cubicBezTo>
                      <a:pt x="15" y="0"/>
                      <a:pt x="0" y="15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73"/>
                      <a:pt x="15" y="87"/>
                      <a:pt x="32" y="87"/>
                    </a:cubicBezTo>
                    <a:cubicBezTo>
                      <a:pt x="50" y="87"/>
                      <a:pt x="65" y="73"/>
                      <a:pt x="65" y="55"/>
                    </a:cubicBezTo>
                    <a:cubicBezTo>
                      <a:pt x="65" y="32"/>
                      <a:pt x="65" y="32"/>
                      <a:pt x="65" y="32"/>
                    </a:cubicBezTo>
                    <a:cubicBezTo>
                      <a:pt x="65" y="15"/>
                      <a:pt x="50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1" name="Freeform 45">
                <a:extLst>
                  <a:ext uri="{FF2B5EF4-FFF2-40B4-BE49-F238E27FC236}">
                    <a16:creationId xmlns:a16="http://schemas.microsoft.com/office/drawing/2014/main" id="{A7D4E1CA-B54C-40F1-8E7E-152B75866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8388" y="3089276"/>
                <a:ext cx="23813" cy="33338"/>
              </a:xfrm>
              <a:custGeom>
                <a:avLst/>
                <a:gdLst>
                  <a:gd name="T0" fmla="*/ 65 w 65"/>
                  <a:gd name="T1" fmla="*/ 33 h 87"/>
                  <a:gd name="T2" fmla="*/ 33 w 65"/>
                  <a:gd name="T3" fmla="*/ 0 h 87"/>
                  <a:gd name="T4" fmla="*/ 0 w 65"/>
                  <a:gd name="T5" fmla="*/ 33 h 87"/>
                  <a:gd name="T6" fmla="*/ 0 w 65"/>
                  <a:gd name="T7" fmla="*/ 55 h 87"/>
                  <a:gd name="T8" fmla="*/ 33 w 65"/>
                  <a:gd name="T9" fmla="*/ 87 h 87"/>
                  <a:gd name="T10" fmla="*/ 65 w 65"/>
                  <a:gd name="T11" fmla="*/ 55 h 87"/>
                  <a:gd name="T12" fmla="*/ 65 w 65"/>
                  <a:gd name="T13" fmla="*/ 3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87">
                    <a:moveTo>
                      <a:pt x="65" y="33"/>
                    </a:moveTo>
                    <a:cubicBezTo>
                      <a:pt x="65" y="15"/>
                      <a:pt x="50" y="0"/>
                      <a:pt x="33" y="0"/>
                    </a:cubicBezTo>
                    <a:cubicBezTo>
                      <a:pt x="15" y="0"/>
                      <a:pt x="0" y="15"/>
                      <a:pt x="0" y="3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73"/>
                      <a:pt x="15" y="87"/>
                      <a:pt x="33" y="87"/>
                    </a:cubicBezTo>
                    <a:cubicBezTo>
                      <a:pt x="50" y="87"/>
                      <a:pt x="65" y="73"/>
                      <a:pt x="65" y="55"/>
                    </a:cubicBezTo>
                    <a:lnTo>
                      <a:pt x="6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2" name="Freeform 46">
                <a:extLst>
                  <a:ext uri="{FF2B5EF4-FFF2-40B4-BE49-F238E27FC236}">
                    <a16:creationId xmlns:a16="http://schemas.microsoft.com/office/drawing/2014/main" id="{B5E6548E-BD83-40C4-A15D-206F7F68D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8388" y="3132138"/>
                <a:ext cx="23813" cy="31750"/>
              </a:xfrm>
              <a:custGeom>
                <a:avLst/>
                <a:gdLst>
                  <a:gd name="T0" fmla="*/ 33 w 65"/>
                  <a:gd name="T1" fmla="*/ 0 h 87"/>
                  <a:gd name="T2" fmla="*/ 0 w 65"/>
                  <a:gd name="T3" fmla="*/ 32 h 87"/>
                  <a:gd name="T4" fmla="*/ 0 w 65"/>
                  <a:gd name="T5" fmla="*/ 55 h 87"/>
                  <a:gd name="T6" fmla="*/ 33 w 65"/>
                  <a:gd name="T7" fmla="*/ 87 h 87"/>
                  <a:gd name="T8" fmla="*/ 65 w 65"/>
                  <a:gd name="T9" fmla="*/ 55 h 87"/>
                  <a:gd name="T10" fmla="*/ 65 w 65"/>
                  <a:gd name="T11" fmla="*/ 32 h 87"/>
                  <a:gd name="T12" fmla="*/ 33 w 65"/>
                  <a:gd name="T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87">
                    <a:moveTo>
                      <a:pt x="33" y="0"/>
                    </a:moveTo>
                    <a:cubicBezTo>
                      <a:pt x="15" y="0"/>
                      <a:pt x="0" y="14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72"/>
                      <a:pt x="15" y="87"/>
                      <a:pt x="33" y="87"/>
                    </a:cubicBezTo>
                    <a:cubicBezTo>
                      <a:pt x="50" y="87"/>
                      <a:pt x="65" y="72"/>
                      <a:pt x="65" y="55"/>
                    </a:cubicBezTo>
                    <a:cubicBezTo>
                      <a:pt x="65" y="32"/>
                      <a:pt x="65" y="32"/>
                      <a:pt x="65" y="32"/>
                    </a:cubicBezTo>
                    <a:cubicBezTo>
                      <a:pt x="65" y="14"/>
                      <a:pt x="51" y="0"/>
                      <a:pt x="3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3" name="Freeform 47">
                <a:extLst>
                  <a:ext uri="{FF2B5EF4-FFF2-40B4-BE49-F238E27FC236}">
                    <a16:creationId xmlns:a16="http://schemas.microsoft.com/office/drawing/2014/main" id="{F34765E1-4BD8-4213-B481-2C0FA1261C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01000" y="2671763"/>
                <a:ext cx="774700" cy="774700"/>
              </a:xfrm>
              <a:custGeom>
                <a:avLst/>
                <a:gdLst>
                  <a:gd name="T0" fmla="*/ 1948 w 2048"/>
                  <a:gd name="T1" fmla="*/ 1189 h 2048"/>
                  <a:gd name="T2" fmla="*/ 1746 w 2048"/>
                  <a:gd name="T3" fmla="*/ 1397 h 2048"/>
                  <a:gd name="T4" fmla="*/ 1916 w 2048"/>
                  <a:gd name="T5" fmla="*/ 1111 h 2048"/>
                  <a:gd name="T6" fmla="*/ 1998 w 2048"/>
                  <a:gd name="T7" fmla="*/ 579 h 2048"/>
                  <a:gd name="T8" fmla="*/ 1799 w 2048"/>
                  <a:gd name="T9" fmla="*/ 56 h 2048"/>
                  <a:gd name="T10" fmla="*/ 1562 w 2048"/>
                  <a:gd name="T11" fmla="*/ 56 h 2048"/>
                  <a:gd name="T12" fmla="*/ 579 w 2048"/>
                  <a:gd name="T13" fmla="*/ 50 h 2048"/>
                  <a:gd name="T14" fmla="*/ 56 w 2048"/>
                  <a:gd name="T15" fmla="*/ 249 h 2048"/>
                  <a:gd name="T16" fmla="*/ 56 w 2048"/>
                  <a:gd name="T17" fmla="*/ 486 h 2048"/>
                  <a:gd name="T18" fmla="*/ 42 w 2048"/>
                  <a:gd name="T19" fmla="*/ 1599 h 2048"/>
                  <a:gd name="T20" fmla="*/ 252 w 2048"/>
                  <a:gd name="T21" fmla="*/ 1992 h 2048"/>
                  <a:gd name="T22" fmla="*/ 529 w 2048"/>
                  <a:gd name="T23" fmla="*/ 1981 h 2048"/>
                  <a:gd name="T24" fmla="*/ 576 w 2048"/>
                  <a:gd name="T25" fmla="*/ 1736 h 2048"/>
                  <a:gd name="T26" fmla="*/ 697 w 2048"/>
                  <a:gd name="T27" fmla="*/ 1508 h 2048"/>
                  <a:gd name="T28" fmla="*/ 1194 w 2048"/>
                  <a:gd name="T29" fmla="*/ 1948 h 2048"/>
                  <a:gd name="T30" fmla="*/ 1854 w 2048"/>
                  <a:gd name="T31" fmla="*/ 1916 h 2048"/>
                  <a:gd name="T32" fmla="*/ 2048 w 2048"/>
                  <a:gd name="T33" fmla="*/ 1682 h 2048"/>
                  <a:gd name="T34" fmla="*/ 1508 w 2048"/>
                  <a:gd name="T35" fmla="*/ 997 h 2048"/>
                  <a:gd name="T36" fmla="*/ 1655 w 2048"/>
                  <a:gd name="T37" fmla="*/ 424 h 2048"/>
                  <a:gd name="T38" fmla="*/ 1707 w 2048"/>
                  <a:gd name="T39" fmla="*/ 90 h 2048"/>
                  <a:gd name="T40" fmla="*/ 1772 w 2048"/>
                  <a:gd name="T41" fmla="*/ 424 h 2048"/>
                  <a:gd name="T42" fmla="*/ 1799 w 2048"/>
                  <a:gd name="T43" fmla="*/ 121 h 2048"/>
                  <a:gd name="T44" fmla="*/ 1889 w 2048"/>
                  <a:gd name="T45" fmla="*/ 284 h 2048"/>
                  <a:gd name="T46" fmla="*/ 1863 w 2048"/>
                  <a:gd name="T47" fmla="*/ 737 h 2048"/>
                  <a:gd name="T48" fmla="*/ 1354 w 2048"/>
                  <a:gd name="T49" fmla="*/ 373 h 2048"/>
                  <a:gd name="T50" fmla="*/ 1537 w 2048"/>
                  <a:gd name="T51" fmla="*/ 148 h 2048"/>
                  <a:gd name="T52" fmla="*/ 1472 w 2048"/>
                  <a:gd name="T53" fmla="*/ 348 h 2048"/>
                  <a:gd name="T54" fmla="*/ 1062 w 2048"/>
                  <a:gd name="T55" fmla="*/ 132 h 2048"/>
                  <a:gd name="T56" fmla="*/ 919 w 2048"/>
                  <a:gd name="T57" fmla="*/ 132 h 2048"/>
                  <a:gd name="T58" fmla="*/ 424 w 2048"/>
                  <a:gd name="T59" fmla="*/ 341 h 2048"/>
                  <a:gd name="T60" fmla="*/ 141 w 2048"/>
                  <a:gd name="T61" fmla="*/ 276 h 2048"/>
                  <a:gd name="T62" fmla="*/ 456 w 2048"/>
                  <a:gd name="T63" fmla="*/ 192 h 2048"/>
                  <a:gd name="T64" fmla="*/ 450 w 2048"/>
                  <a:gd name="T65" fmla="*/ 107 h 2048"/>
                  <a:gd name="T66" fmla="*/ 596 w 2048"/>
                  <a:gd name="T67" fmla="*/ 614 h 2048"/>
                  <a:gd name="T68" fmla="*/ 445 w 2048"/>
                  <a:gd name="T69" fmla="*/ 511 h 2048"/>
                  <a:gd name="T70" fmla="*/ 147 w 2048"/>
                  <a:gd name="T71" fmla="*/ 458 h 2048"/>
                  <a:gd name="T72" fmla="*/ 146 w 2048"/>
                  <a:gd name="T73" fmla="*/ 393 h 2048"/>
                  <a:gd name="T74" fmla="*/ 540 w 2048"/>
                  <a:gd name="T75" fmla="*/ 1051 h 2048"/>
                  <a:gd name="T76" fmla="*/ 312 w 2048"/>
                  <a:gd name="T77" fmla="*/ 576 h 2048"/>
                  <a:gd name="T78" fmla="*/ 540 w 2048"/>
                  <a:gd name="T79" fmla="*/ 697 h 2048"/>
                  <a:gd name="T80" fmla="*/ 511 w 2048"/>
                  <a:gd name="T81" fmla="*/ 1603 h 2048"/>
                  <a:gd name="T82" fmla="*/ 458 w 2048"/>
                  <a:gd name="T83" fmla="*/ 1901 h 2048"/>
                  <a:gd name="T84" fmla="*/ 393 w 2048"/>
                  <a:gd name="T85" fmla="*/ 1902 h 2048"/>
                  <a:gd name="T86" fmla="*/ 342 w 2048"/>
                  <a:gd name="T87" fmla="*/ 1831 h 2048"/>
                  <a:gd name="T88" fmla="*/ 277 w 2048"/>
                  <a:gd name="T89" fmla="*/ 1853 h 2048"/>
                  <a:gd name="T90" fmla="*/ 224 w 2048"/>
                  <a:gd name="T91" fmla="*/ 1764 h 2048"/>
                  <a:gd name="T92" fmla="*/ 107 w 2048"/>
                  <a:gd name="T93" fmla="*/ 1764 h 2048"/>
                  <a:gd name="T94" fmla="*/ 495 w 2048"/>
                  <a:gd name="T95" fmla="*/ 1272 h 2048"/>
                  <a:gd name="T96" fmla="*/ 678 w 2048"/>
                  <a:gd name="T97" fmla="*/ 1441 h 2048"/>
                  <a:gd name="T98" fmla="*/ 792 w 2048"/>
                  <a:gd name="T99" fmla="*/ 560 h 2048"/>
                  <a:gd name="T100" fmla="*/ 1488 w 2048"/>
                  <a:gd name="T101" fmla="*/ 854 h 2048"/>
                  <a:gd name="T102" fmla="*/ 1194 w 2048"/>
                  <a:gd name="T103" fmla="*/ 1475 h 2048"/>
                  <a:gd name="T104" fmla="*/ 1129 w 2048"/>
                  <a:gd name="T105" fmla="*/ 1508 h 2048"/>
                  <a:gd name="T106" fmla="*/ 1592 w 2048"/>
                  <a:gd name="T107" fmla="*/ 1856 h 2048"/>
                  <a:gd name="T108" fmla="*/ 1598 w 2048"/>
                  <a:gd name="T109" fmla="*/ 1941 h 2048"/>
                  <a:gd name="T110" fmla="*/ 1194 w 2048"/>
                  <a:gd name="T111" fmla="*/ 1553 h 2048"/>
                  <a:gd name="T112" fmla="*/ 1584 w 2048"/>
                  <a:gd name="T113" fmla="*/ 1476 h 2048"/>
                  <a:gd name="T114" fmla="*/ 1927 w 2048"/>
                  <a:gd name="T115" fmla="*/ 1562 h 2048"/>
                  <a:gd name="T116" fmla="*/ 1624 w 2048"/>
                  <a:gd name="T117" fmla="*/ 1655 h 2048"/>
                  <a:gd name="T118" fmla="*/ 1958 w 2048"/>
                  <a:gd name="T119" fmla="*/ 1707 h 2048"/>
                  <a:gd name="T120" fmla="*/ 1624 w 2048"/>
                  <a:gd name="T121" fmla="*/ 1772 h 2048"/>
                  <a:gd name="T122" fmla="*/ 1927 w 2048"/>
                  <a:gd name="T123" fmla="*/ 1799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48" h="2048">
                    <a:moveTo>
                      <a:pt x="1987" y="1594"/>
                    </a:moveTo>
                    <a:cubicBezTo>
                      <a:pt x="1990" y="1585"/>
                      <a:pt x="1992" y="1575"/>
                      <a:pt x="1992" y="1565"/>
                    </a:cubicBezTo>
                    <a:cubicBezTo>
                      <a:pt x="1992" y="1562"/>
                      <a:pt x="1992" y="1562"/>
                      <a:pt x="1992" y="1562"/>
                    </a:cubicBezTo>
                    <a:cubicBezTo>
                      <a:pt x="1992" y="1547"/>
                      <a:pt x="1988" y="1532"/>
                      <a:pt x="1981" y="1519"/>
                    </a:cubicBezTo>
                    <a:cubicBezTo>
                      <a:pt x="1981" y="1519"/>
                      <a:pt x="1981" y="1518"/>
                      <a:pt x="1981" y="1518"/>
                    </a:cubicBezTo>
                    <a:cubicBezTo>
                      <a:pt x="1981" y="1221"/>
                      <a:pt x="1981" y="1221"/>
                      <a:pt x="1981" y="1221"/>
                    </a:cubicBezTo>
                    <a:cubicBezTo>
                      <a:pt x="1981" y="1203"/>
                      <a:pt x="1966" y="1189"/>
                      <a:pt x="1948" y="1189"/>
                    </a:cubicBezTo>
                    <a:cubicBezTo>
                      <a:pt x="1930" y="1189"/>
                      <a:pt x="1916" y="1203"/>
                      <a:pt x="1916" y="1221"/>
                    </a:cubicBezTo>
                    <a:cubicBezTo>
                      <a:pt x="1916" y="1474"/>
                      <a:pt x="1916" y="1474"/>
                      <a:pt x="1916" y="1474"/>
                    </a:cubicBezTo>
                    <a:cubicBezTo>
                      <a:pt x="1911" y="1473"/>
                      <a:pt x="1907" y="1472"/>
                      <a:pt x="1902" y="1472"/>
                    </a:cubicBezTo>
                    <a:cubicBezTo>
                      <a:pt x="1900" y="1472"/>
                      <a:pt x="1900" y="1472"/>
                      <a:pt x="1900" y="1472"/>
                    </a:cubicBezTo>
                    <a:cubicBezTo>
                      <a:pt x="1736" y="1472"/>
                      <a:pt x="1736" y="1472"/>
                      <a:pt x="1736" y="1472"/>
                    </a:cubicBezTo>
                    <a:cubicBezTo>
                      <a:pt x="1700" y="1472"/>
                      <a:pt x="1700" y="1472"/>
                      <a:pt x="1700" y="1472"/>
                    </a:cubicBezTo>
                    <a:cubicBezTo>
                      <a:pt x="1721" y="1451"/>
                      <a:pt x="1740" y="1426"/>
                      <a:pt x="1746" y="1397"/>
                    </a:cubicBezTo>
                    <a:cubicBezTo>
                      <a:pt x="1753" y="1367"/>
                      <a:pt x="1745" y="1337"/>
                      <a:pt x="1724" y="1311"/>
                    </a:cubicBezTo>
                    <a:cubicBezTo>
                      <a:pt x="1724" y="1311"/>
                      <a:pt x="1724" y="1311"/>
                      <a:pt x="1724" y="1311"/>
                    </a:cubicBezTo>
                    <a:cubicBezTo>
                      <a:pt x="1721" y="1308"/>
                      <a:pt x="1663" y="1242"/>
                      <a:pt x="1544" y="1329"/>
                    </a:cubicBezTo>
                    <a:cubicBezTo>
                      <a:pt x="1531" y="1338"/>
                      <a:pt x="1519" y="1345"/>
                      <a:pt x="1508" y="1351"/>
                    </a:cubicBezTo>
                    <a:cubicBezTo>
                      <a:pt x="1508" y="1062"/>
                      <a:pt x="1508" y="1062"/>
                      <a:pt x="1508" y="1062"/>
                    </a:cubicBezTo>
                    <a:cubicBezTo>
                      <a:pt x="1916" y="1062"/>
                      <a:pt x="1916" y="1062"/>
                      <a:pt x="1916" y="1062"/>
                    </a:cubicBezTo>
                    <a:cubicBezTo>
                      <a:pt x="1916" y="1111"/>
                      <a:pt x="1916" y="1111"/>
                      <a:pt x="1916" y="1111"/>
                    </a:cubicBezTo>
                    <a:cubicBezTo>
                      <a:pt x="1916" y="1129"/>
                      <a:pt x="1930" y="1143"/>
                      <a:pt x="1948" y="1143"/>
                    </a:cubicBezTo>
                    <a:cubicBezTo>
                      <a:pt x="1966" y="1143"/>
                      <a:pt x="1981" y="1129"/>
                      <a:pt x="1981" y="1111"/>
                    </a:cubicBezTo>
                    <a:cubicBezTo>
                      <a:pt x="1981" y="886"/>
                      <a:pt x="1981" y="886"/>
                      <a:pt x="1981" y="886"/>
                    </a:cubicBezTo>
                    <a:cubicBezTo>
                      <a:pt x="1981" y="869"/>
                      <a:pt x="1966" y="854"/>
                      <a:pt x="1948" y="854"/>
                    </a:cubicBezTo>
                    <a:cubicBezTo>
                      <a:pt x="1928" y="854"/>
                      <a:pt x="1928" y="854"/>
                      <a:pt x="1928" y="854"/>
                    </a:cubicBezTo>
                    <a:cubicBezTo>
                      <a:pt x="1928" y="753"/>
                      <a:pt x="1928" y="753"/>
                      <a:pt x="1928" y="753"/>
                    </a:cubicBezTo>
                    <a:cubicBezTo>
                      <a:pt x="1963" y="723"/>
                      <a:pt x="1986" y="665"/>
                      <a:pt x="1998" y="579"/>
                    </a:cubicBezTo>
                    <a:cubicBezTo>
                      <a:pt x="2007" y="514"/>
                      <a:pt x="2006" y="455"/>
                      <a:pt x="2006" y="449"/>
                    </a:cubicBezTo>
                    <a:cubicBezTo>
                      <a:pt x="2006" y="284"/>
                      <a:pt x="2006" y="284"/>
                      <a:pt x="2006" y="284"/>
                    </a:cubicBezTo>
                    <a:cubicBezTo>
                      <a:pt x="2006" y="234"/>
                      <a:pt x="1966" y="194"/>
                      <a:pt x="1916" y="194"/>
                    </a:cubicBezTo>
                    <a:cubicBezTo>
                      <a:pt x="1914" y="194"/>
                      <a:pt x="1914" y="194"/>
                      <a:pt x="1914" y="194"/>
                    </a:cubicBezTo>
                    <a:cubicBezTo>
                      <a:pt x="1905" y="194"/>
                      <a:pt x="1897" y="195"/>
                      <a:pt x="1889" y="198"/>
                    </a:cubicBezTo>
                    <a:cubicBezTo>
                      <a:pt x="1889" y="146"/>
                      <a:pt x="1889" y="146"/>
                      <a:pt x="1889" y="146"/>
                    </a:cubicBezTo>
                    <a:cubicBezTo>
                      <a:pt x="1889" y="96"/>
                      <a:pt x="1848" y="56"/>
                      <a:pt x="1799" y="56"/>
                    </a:cubicBezTo>
                    <a:cubicBezTo>
                      <a:pt x="1796" y="56"/>
                      <a:pt x="1796" y="56"/>
                      <a:pt x="1796" y="56"/>
                    </a:cubicBezTo>
                    <a:cubicBezTo>
                      <a:pt x="1786" y="56"/>
                      <a:pt x="1776" y="58"/>
                      <a:pt x="1767" y="61"/>
                    </a:cubicBezTo>
                    <a:cubicBezTo>
                      <a:pt x="1755" y="26"/>
                      <a:pt x="1721" y="0"/>
                      <a:pt x="1682" y="0"/>
                    </a:cubicBezTo>
                    <a:cubicBezTo>
                      <a:pt x="1680" y="0"/>
                      <a:pt x="1680" y="0"/>
                      <a:pt x="1680" y="0"/>
                    </a:cubicBezTo>
                    <a:cubicBezTo>
                      <a:pt x="1640" y="0"/>
                      <a:pt x="1606" y="26"/>
                      <a:pt x="1594" y="61"/>
                    </a:cubicBezTo>
                    <a:cubicBezTo>
                      <a:pt x="1585" y="58"/>
                      <a:pt x="1575" y="56"/>
                      <a:pt x="1565" y="56"/>
                    </a:cubicBezTo>
                    <a:cubicBezTo>
                      <a:pt x="1562" y="56"/>
                      <a:pt x="1562" y="56"/>
                      <a:pt x="1562" y="56"/>
                    </a:cubicBezTo>
                    <a:cubicBezTo>
                      <a:pt x="1546" y="56"/>
                      <a:pt x="1532" y="60"/>
                      <a:pt x="1519" y="68"/>
                    </a:cubicBezTo>
                    <a:cubicBezTo>
                      <a:pt x="1518" y="67"/>
                      <a:pt x="1517" y="67"/>
                      <a:pt x="1516" y="67"/>
                    </a:cubicBezTo>
                    <a:cubicBezTo>
                      <a:pt x="886" y="67"/>
                      <a:pt x="886" y="67"/>
                      <a:pt x="886" y="67"/>
                    </a:cubicBezTo>
                    <a:cubicBezTo>
                      <a:pt x="868" y="67"/>
                      <a:pt x="854" y="82"/>
                      <a:pt x="854" y="100"/>
                    </a:cubicBezTo>
                    <a:cubicBezTo>
                      <a:pt x="854" y="120"/>
                      <a:pt x="854" y="120"/>
                      <a:pt x="854" y="120"/>
                    </a:cubicBezTo>
                    <a:cubicBezTo>
                      <a:pt x="753" y="120"/>
                      <a:pt x="753" y="120"/>
                      <a:pt x="753" y="120"/>
                    </a:cubicBezTo>
                    <a:cubicBezTo>
                      <a:pt x="723" y="85"/>
                      <a:pt x="665" y="62"/>
                      <a:pt x="579" y="50"/>
                    </a:cubicBezTo>
                    <a:cubicBezTo>
                      <a:pt x="514" y="41"/>
                      <a:pt x="455" y="42"/>
                      <a:pt x="449" y="42"/>
                    </a:cubicBezTo>
                    <a:cubicBezTo>
                      <a:pt x="284" y="42"/>
                      <a:pt x="284" y="42"/>
                      <a:pt x="284" y="42"/>
                    </a:cubicBezTo>
                    <a:cubicBezTo>
                      <a:pt x="234" y="42"/>
                      <a:pt x="194" y="82"/>
                      <a:pt x="194" y="132"/>
                    </a:cubicBezTo>
                    <a:cubicBezTo>
                      <a:pt x="194" y="134"/>
                      <a:pt x="194" y="134"/>
                      <a:pt x="194" y="134"/>
                    </a:cubicBezTo>
                    <a:cubicBezTo>
                      <a:pt x="194" y="143"/>
                      <a:pt x="195" y="151"/>
                      <a:pt x="198" y="159"/>
                    </a:cubicBezTo>
                    <a:cubicBezTo>
                      <a:pt x="146" y="159"/>
                      <a:pt x="146" y="159"/>
                      <a:pt x="146" y="159"/>
                    </a:cubicBezTo>
                    <a:cubicBezTo>
                      <a:pt x="96" y="159"/>
                      <a:pt x="56" y="200"/>
                      <a:pt x="56" y="249"/>
                    </a:cubicBezTo>
                    <a:cubicBezTo>
                      <a:pt x="56" y="252"/>
                      <a:pt x="56" y="252"/>
                      <a:pt x="56" y="252"/>
                    </a:cubicBezTo>
                    <a:cubicBezTo>
                      <a:pt x="56" y="262"/>
                      <a:pt x="58" y="272"/>
                      <a:pt x="61" y="281"/>
                    </a:cubicBezTo>
                    <a:cubicBezTo>
                      <a:pt x="26" y="293"/>
                      <a:pt x="0" y="326"/>
                      <a:pt x="0" y="366"/>
                    </a:cubicBezTo>
                    <a:cubicBezTo>
                      <a:pt x="0" y="368"/>
                      <a:pt x="0" y="368"/>
                      <a:pt x="0" y="368"/>
                    </a:cubicBezTo>
                    <a:cubicBezTo>
                      <a:pt x="0" y="408"/>
                      <a:pt x="26" y="442"/>
                      <a:pt x="61" y="454"/>
                    </a:cubicBezTo>
                    <a:cubicBezTo>
                      <a:pt x="58" y="463"/>
                      <a:pt x="56" y="473"/>
                      <a:pt x="56" y="483"/>
                    </a:cubicBezTo>
                    <a:cubicBezTo>
                      <a:pt x="56" y="486"/>
                      <a:pt x="56" y="486"/>
                      <a:pt x="56" y="486"/>
                    </a:cubicBezTo>
                    <a:cubicBezTo>
                      <a:pt x="56" y="501"/>
                      <a:pt x="60" y="516"/>
                      <a:pt x="67" y="529"/>
                    </a:cubicBezTo>
                    <a:cubicBezTo>
                      <a:pt x="67" y="1162"/>
                      <a:pt x="67" y="1162"/>
                      <a:pt x="67" y="1162"/>
                    </a:cubicBezTo>
                    <a:cubicBezTo>
                      <a:pt x="67" y="1179"/>
                      <a:pt x="82" y="1194"/>
                      <a:pt x="100" y="1194"/>
                    </a:cubicBezTo>
                    <a:cubicBezTo>
                      <a:pt x="120" y="1194"/>
                      <a:pt x="120" y="1194"/>
                      <a:pt x="120" y="1194"/>
                    </a:cubicBezTo>
                    <a:cubicBezTo>
                      <a:pt x="120" y="1295"/>
                      <a:pt x="120" y="1295"/>
                      <a:pt x="120" y="1295"/>
                    </a:cubicBezTo>
                    <a:cubicBezTo>
                      <a:pt x="85" y="1325"/>
                      <a:pt x="62" y="1383"/>
                      <a:pt x="50" y="1469"/>
                    </a:cubicBezTo>
                    <a:cubicBezTo>
                      <a:pt x="41" y="1534"/>
                      <a:pt x="42" y="1593"/>
                      <a:pt x="42" y="1599"/>
                    </a:cubicBezTo>
                    <a:cubicBezTo>
                      <a:pt x="42" y="1764"/>
                      <a:pt x="42" y="1764"/>
                      <a:pt x="42" y="1764"/>
                    </a:cubicBezTo>
                    <a:cubicBezTo>
                      <a:pt x="42" y="1814"/>
                      <a:pt x="82" y="1854"/>
                      <a:pt x="132" y="1854"/>
                    </a:cubicBezTo>
                    <a:cubicBezTo>
                      <a:pt x="134" y="1854"/>
                      <a:pt x="134" y="1854"/>
                      <a:pt x="134" y="1854"/>
                    </a:cubicBezTo>
                    <a:cubicBezTo>
                      <a:pt x="143" y="1854"/>
                      <a:pt x="151" y="1853"/>
                      <a:pt x="159" y="1850"/>
                    </a:cubicBezTo>
                    <a:cubicBezTo>
                      <a:pt x="159" y="1902"/>
                      <a:pt x="159" y="1902"/>
                      <a:pt x="159" y="1902"/>
                    </a:cubicBezTo>
                    <a:cubicBezTo>
                      <a:pt x="159" y="1952"/>
                      <a:pt x="200" y="1992"/>
                      <a:pt x="249" y="1992"/>
                    </a:cubicBezTo>
                    <a:cubicBezTo>
                      <a:pt x="252" y="1992"/>
                      <a:pt x="252" y="1992"/>
                      <a:pt x="252" y="1992"/>
                    </a:cubicBezTo>
                    <a:cubicBezTo>
                      <a:pt x="262" y="1992"/>
                      <a:pt x="272" y="1990"/>
                      <a:pt x="281" y="1987"/>
                    </a:cubicBezTo>
                    <a:cubicBezTo>
                      <a:pt x="293" y="2022"/>
                      <a:pt x="326" y="2048"/>
                      <a:pt x="366" y="2048"/>
                    </a:cubicBezTo>
                    <a:cubicBezTo>
                      <a:pt x="368" y="2048"/>
                      <a:pt x="368" y="2048"/>
                      <a:pt x="368" y="2048"/>
                    </a:cubicBezTo>
                    <a:cubicBezTo>
                      <a:pt x="408" y="2048"/>
                      <a:pt x="442" y="2022"/>
                      <a:pt x="454" y="1987"/>
                    </a:cubicBezTo>
                    <a:cubicBezTo>
                      <a:pt x="463" y="1990"/>
                      <a:pt x="473" y="1992"/>
                      <a:pt x="483" y="1992"/>
                    </a:cubicBezTo>
                    <a:cubicBezTo>
                      <a:pt x="486" y="1992"/>
                      <a:pt x="486" y="1992"/>
                      <a:pt x="486" y="1992"/>
                    </a:cubicBezTo>
                    <a:cubicBezTo>
                      <a:pt x="501" y="1992"/>
                      <a:pt x="516" y="1988"/>
                      <a:pt x="529" y="1981"/>
                    </a:cubicBezTo>
                    <a:cubicBezTo>
                      <a:pt x="647" y="1981"/>
                      <a:pt x="647" y="1981"/>
                      <a:pt x="647" y="1981"/>
                    </a:cubicBezTo>
                    <a:cubicBezTo>
                      <a:pt x="665" y="1981"/>
                      <a:pt x="679" y="1966"/>
                      <a:pt x="679" y="1948"/>
                    </a:cubicBezTo>
                    <a:cubicBezTo>
                      <a:pt x="679" y="1930"/>
                      <a:pt x="665" y="1916"/>
                      <a:pt x="647" y="1916"/>
                    </a:cubicBezTo>
                    <a:cubicBezTo>
                      <a:pt x="574" y="1916"/>
                      <a:pt x="574" y="1916"/>
                      <a:pt x="574" y="1916"/>
                    </a:cubicBezTo>
                    <a:cubicBezTo>
                      <a:pt x="575" y="1911"/>
                      <a:pt x="576" y="1907"/>
                      <a:pt x="576" y="1902"/>
                    </a:cubicBezTo>
                    <a:cubicBezTo>
                      <a:pt x="576" y="1900"/>
                      <a:pt x="576" y="1900"/>
                      <a:pt x="576" y="1900"/>
                    </a:cubicBezTo>
                    <a:cubicBezTo>
                      <a:pt x="576" y="1736"/>
                      <a:pt x="576" y="1736"/>
                      <a:pt x="576" y="1736"/>
                    </a:cubicBezTo>
                    <a:cubicBezTo>
                      <a:pt x="576" y="1700"/>
                      <a:pt x="576" y="1700"/>
                      <a:pt x="576" y="1700"/>
                    </a:cubicBezTo>
                    <a:cubicBezTo>
                      <a:pt x="597" y="1721"/>
                      <a:pt x="622" y="1740"/>
                      <a:pt x="651" y="1746"/>
                    </a:cubicBezTo>
                    <a:cubicBezTo>
                      <a:pt x="658" y="1748"/>
                      <a:pt x="665" y="1748"/>
                      <a:pt x="672" y="1748"/>
                    </a:cubicBezTo>
                    <a:cubicBezTo>
                      <a:pt x="695" y="1748"/>
                      <a:pt x="717" y="1740"/>
                      <a:pt x="737" y="1724"/>
                    </a:cubicBezTo>
                    <a:cubicBezTo>
                      <a:pt x="737" y="1724"/>
                      <a:pt x="737" y="1724"/>
                      <a:pt x="737" y="1724"/>
                    </a:cubicBezTo>
                    <a:cubicBezTo>
                      <a:pt x="740" y="1721"/>
                      <a:pt x="806" y="1663"/>
                      <a:pt x="719" y="1544"/>
                    </a:cubicBezTo>
                    <a:cubicBezTo>
                      <a:pt x="710" y="1531"/>
                      <a:pt x="703" y="1519"/>
                      <a:pt x="697" y="1508"/>
                    </a:cubicBezTo>
                    <a:cubicBezTo>
                      <a:pt x="986" y="1508"/>
                      <a:pt x="986" y="1508"/>
                      <a:pt x="986" y="1508"/>
                    </a:cubicBezTo>
                    <a:cubicBezTo>
                      <a:pt x="986" y="1916"/>
                      <a:pt x="986" y="1916"/>
                      <a:pt x="986" y="1916"/>
                    </a:cubicBezTo>
                    <a:cubicBezTo>
                      <a:pt x="748" y="1916"/>
                      <a:pt x="748" y="1916"/>
                      <a:pt x="748" y="1916"/>
                    </a:cubicBezTo>
                    <a:cubicBezTo>
                      <a:pt x="730" y="1916"/>
                      <a:pt x="715" y="1930"/>
                      <a:pt x="715" y="1948"/>
                    </a:cubicBezTo>
                    <a:cubicBezTo>
                      <a:pt x="715" y="1966"/>
                      <a:pt x="730" y="1981"/>
                      <a:pt x="748" y="1981"/>
                    </a:cubicBezTo>
                    <a:cubicBezTo>
                      <a:pt x="1162" y="1981"/>
                      <a:pt x="1162" y="1981"/>
                      <a:pt x="1162" y="1981"/>
                    </a:cubicBezTo>
                    <a:cubicBezTo>
                      <a:pt x="1179" y="1981"/>
                      <a:pt x="1194" y="1966"/>
                      <a:pt x="1194" y="1948"/>
                    </a:cubicBezTo>
                    <a:cubicBezTo>
                      <a:pt x="1194" y="1928"/>
                      <a:pt x="1194" y="1928"/>
                      <a:pt x="1194" y="1928"/>
                    </a:cubicBezTo>
                    <a:cubicBezTo>
                      <a:pt x="1295" y="1928"/>
                      <a:pt x="1295" y="1928"/>
                      <a:pt x="1295" y="1928"/>
                    </a:cubicBezTo>
                    <a:cubicBezTo>
                      <a:pt x="1325" y="1963"/>
                      <a:pt x="1383" y="1986"/>
                      <a:pt x="1469" y="1998"/>
                    </a:cubicBezTo>
                    <a:cubicBezTo>
                      <a:pt x="1522" y="2005"/>
                      <a:pt x="1570" y="2006"/>
                      <a:pt x="1590" y="2006"/>
                    </a:cubicBezTo>
                    <a:cubicBezTo>
                      <a:pt x="1595" y="2006"/>
                      <a:pt x="1598" y="2006"/>
                      <a:pt x="1599" y="2006"/>
                    </a:cubicBezTo>
                    <a:cubicBezTo>
                      <a:pt x="1764" y="2006"/>
                      <a:pt x="1764" y="2006"/>
                      <a:pt x="1764" y="2006"/>
                    </a:cubicBezTo>
                    <a:cubicBezTo>
                      <a:pt x="1814" y="2006"/>
                      <a:pt x="1854" y="1966"/>
                      <a:pt x="1854" y="1916"/>
                    </a:cubicBezTo>
                    <a:cubicBezTo>
                      <a:pt x="1854" y="1914"/>
                      <a:pt x="1854" y="1914"/>
                      <a:pt x="1854" y="1914"/>
                    </a:cubicBezTo>
                    <a:cubicBezTo>
                      <a:pt x="1854" y="1905"/>
                      <a:pt x="1853" y="1897"/>
                      <a:pt x="1850" y="1889"/>
                    </a:cubicBezTo>
                    <a:cubicBezTo>
                      <a:pt x="1902" y="1889"/>
                      <a:pt x="1902" y="1889"/>
                      <a:pt x="1902" y="1889"/>
                    </a:cubicBezTo>
                    <a:cubicBezTo>
                      <a:pt x="1952" y="1889"/>
                      <a:pt x="1992" y="1848"/>
                      <a:pt x="1992" y="1799"/>
                    </a:cubicBezTo>
                    <a:cubicBezTo>
                      <a:pt x="1992" y="1796"/>
                      <a:pt x="1992" y="1796"/>
                      <a:pt x="1992" y="1796"/>
                    </a:cubicBezTo>
                    <a:cubicBezTo>
                      <a:pt x="1992" y="1786"/>
                      <a:pt x="1990" y="1776"/>
                      <a:pt x="1987" y="1767"/>
                    </a:cubicBezTo>
                    <a:cubicBezTo>
                      <a:pt x="2022" y="1755"/>
                      <a:pt x="2048" y="1722"/>
                      <a:pt x="2048" y="1682"/>
                    </a:cubicBezTo>
                    <a:cubicBezTo>
                      <a:pt x="2048" y="1680"/>
                      <a:pt x="2048" y="1680"/>
                      <a:pt x="2048" y="1680"/>
                    </a:cubicBezTo>
                    <a:cubicBezTo>
                      <a:pt x="2048" y="1640"/>
                      <a:pt x="2022" y="1606"/>
                      <a:pt x="1987" y="1594"/>
                    </a:cubicBezTo>
                    <a:close/>
                    <a:moveTo>
                      <a:pt x="1508" y="997"/>
                    </a:moveTo>
                    <a:cubicBezTo>
                      <a:pt x="1508" y="919"/>
                      <a:pt x="1508" y="919"/>
                      <a:pt x="1508" y="919"/>
                    </a:cubicBezTo>
                    <a:cubicBezTo>
                      <a:pt x="1916" y="919"/>
                      <a:pt x="1916" y="919"/>
                      <a:pt x="1916" y="919"/>
                    </a:cubicBezTo>
                    <a:cubicBezTo>
                      <a:pt x="1916" y="997"/>
                      <a:pt x="1916" y="997"/>
                      <a:pt x="1916" y="997"/>
                    </a:cubicBezTo>
                    <a:lnTo>
                      <a:pt x="1508" y="997"/>
                    </a:lnTo>
                    <a:close/>
                    <a:moveTo>
                      <a:pt x="1565" y="121"/>
                    </a:moveTo>
                    <a:cubicBezTo>
                      <a:pt x="1578" y="121"/>
                      <a:pt x="1590" y="132"/>
                      <a:pt x="1590" y="146"/>
                    </a:cubicBezTo>
                    <a:cubicBezTo>
                      <a:pt x="1590" y="146"/>
                      <a:pt x="1590" y="147"/>
                      <a:pt x="1590" y="147"/>
                    </a:cubicBezTo>
                    <a:cubicBezTo>
                      <a:pt x="1590" y="148"/>
                      <a:pt x="1590" y="148"/>
                      <a:pt x="1590" y="148"/>
                    </a:cubicBezTo>
                    <a:cubicBezTo>
                      <a:pt x="1590" y="424"/>
                      <a:pt x="1590" y="424"/>
                      <a:pt x="1590" y="424"/>
                    </a:cubicBezTo>
                    <a:cubicBezTo>
                      <a:pt x="1590" y="442"/>
                      <a:pt x="1604" y="456"/>
                      <a:pt x="1622" y="456"/>
                    </a:cubicBezTo>
                    <a:cubicBezTo>
                      <a:pt x="1640" y="456"/>
                      <a:pt x="1655" y="442"/>
                      <a:pt x="1655" y="424"/>
                    </a:cubicBezTo>
                    <a:cubicBezTo>
                      <a:pt x="1655" y="148"/>
                      <a:pt x="1655" y="148"/>
                      <a:pt x="1655" y="148"/>
                    </a:cubicBezTo>
                    <a:cubicBezTo>
                      <a:pt x="1655" y="148"/>
                      <a:pt x="1655" y="148"/>
                      <a:pt x="1655" y="147"/>
                    </a:cubicBezTo>
                    <a:cubicBezTo>
                      <a:pt x="1655" y="147"/>
                      <a:pt x="1655" y="146"/>
                      <a:pt x="1655" y="146"/>
                    </a:cubicBezTo>
                    <a:cubicBezTo>
                      <a:pt x="1655" y="90"/>
                      <a:pt x="1655" y="90"/>
                      <a:pt x="1655" y="90"/>
                    </a:cubicBezTo>
                    <a:cubicBezTo>
                      <a:pt x="1655" y="76"/>
                      <a:pt x="1666" y="65"/>
                      <a:pt x="1680" y="65"/>
                    </a:cubicBezTo>
                    <a:cubicBezTo>
                      <a:pt x="1682" y="65"/>
                      <a:pt x="1682" y="65"/>
                      <a:pt x="1682" y="65"/>
                    </a:cubicBezTo>
                    <a:cubicBezTo>
                      <a:pt x="1696" y="65"/>
                      <a:pt x="1707" y="76"/>
                      <a:pt x="1707" y="90"/>
                    </a:cubicBezTo>
                    <a:cubicBezTo>
                      <a:pt x="1707" y="137"/>
                      <a:pt x="1707" y="137"/>
                      <a:pt x="1707" y="137"/>
                    </a:cubicBezTo>
                    <a:cubicBezTo>
                      <a:pt x="1707" y="140"/>
                      <a:pt x="1706" y="143"/>
                      <a:pt x="1706" y="146"/>
                    </a:cubicBezTo>
                    <a:cubicBezTo>
                      <a:pt x="1706" y="217"/>
                      <a:pt x="1706" y="217"/>
                      <a:pt x="1706" y="217"/>
                    </a:cubicBezTo>
                    <a:cubicBezTo>
                      <a:pt x="1706" y="219"/>
                      <a:pt x="1707" y="221"/>
                      <a:pt x="1707" y="223"/>
                    </a:cubicBezTo>
                    <a:cubicBezTo>
                      <a:pt x="1707" y="424"/>
                      <a:pt x="1707" y="424"/>
                      <a:pt x="1707" y="424"/>
                    </a:cubicBezTo>
                    <a:cubicBezTo>
                      <a:pt x="1707" y="442"/>
                      <a:pt x="1722" y="456"/>
                      <a:pt x="1739" y="456"/>
                    </a:cubicBezTo>
                    <a:cubicBezTo>
                      <a:pt x="1757" y="456"/>
                      <a:pt x="1772" y="442"/>
                      <a:pt x="1772" y="424"/>
                    </a:cubicBezTo>
                    <a:cubicBezTo>
                      <a:pt x="1772" y="201"/>
                      <a:pt x="1772" y="201"/>
                      <a:pt x="1772" y="201"/>
                    </a:cubicBezTo>
                    <a:cubicBezTo>
                      <a:pt x="1772" y="199"/>
                      <a:pt x="1772" y="197"/>
                      <a:pt x="1771" y="196"/>
                    </a:cubicBezTo>
                    <a:cubicBezTo>
                      <a:pt x="1771" y="195"/>
                      <a:pt x="1771" y="195"/>
                      <a:pt x="1771" y="195"/>
                    </a:cubicBezTo>
                    <a:cubicBezTo>
                      <a:pt x="1772" y="193"/>
                      <a:pt x="1772" y="191"/>
                      <a:pt x="1772" y="189"/>
                    </a:cubicBezTo>
                    <a:cubicBezTo>
                      <a:pt x="1772" y="141"/>
                      <a:pt x="1772" y="141"/>
                      <a:pt x="1772" y="141"/>
                    </a:cubicBezTo>
                    <a:cubicBezTo>
                      <a:pt x="1774" y="130"/>
                      <a:pt x="1784" y="121"/>
                      <a:pt x="1796" y="121"/>
                    </a:cubicBezTo>
                    <a:cubicBezTo>
                      <a:pt x="1799" y="121"/>
                      <a:pt x="1799" y="121"/>
                      <a:pt x="1799" y="121"/>
                    </a:cubicBezTo>
                    <a:cubicBezTo>
                      <a:pt x="1813" y="121"/>
                      <a:pt x="1824" y="132"/>
                      <a:pt x="1824" y="146"/>
                    </a:cubicBezTo>
                    <a:cubicBezTo>
                      <a:pt x="1824" y="261"/>
                      <a:pt x="1824" y="261"/>
                      <a:pt x="1824" y="261"/>
                    </a:cubicBezTo>
                    <a:cubicBezTo>
                      <a:pt x="1824" y="284"/>
                      <a:pt x="1824" y="284"/>
                      <a:pt x="1824" y="284"/>
                    </a:cubicBezTo>
                    <a:cubicBezTo>
                      <a:pt x="1824" y="424"/>
                      <a:pt x="1824" y="424"/>
                      <a:pt x="1824" y="424"/>
                    </a:cubicBezTo>
                    <a:cubicBezTo>
                      <a:pt x="1824" y="442"/>
                      <a:pt x="1838" y="456"/>
                      <a:pt x="1856" y="456"/>
                    </a:cubicBezTo>
                    <a:cubicBezTo>
                      <a:pt x="1874" y="456"/>
                      <a:pt x="1889" y="442"/>
                      <a:pt x="1889" y="424"/>
                    </a:cubicBezTo>
                    <a:cubicBezTo>
                      <a:pt x="1889" y="284"/>
                      <a:pt x="1889" y="284"/>
                      <a:pt x="1889" y="284"/>
                    </a:cubicBezTo>
                    <a:cubicBezTo>
                      <a:pt x="1889" y="270"/>
                      <a:pt x="1900" y="259"/>
                      <a:pt x="1914" y="259"/>
                    </a:cubicBezTo>
                    <a:cubicBezTo>
                      <a:pt x="1916" y="259"/>
                      <a:pt x="1916" y="259"/>
                      <a:pt x="1916" y="259"/>
                    </a:cubicBezTo>
                    <a:cubicBezTo>
                      <a:pt x="1930" y="259"/>
                      <a:pt x="1941" y="270"/>
                      <a:pt x="1941" y="284"/>
                    </a:cubicBezTo>
                    <a:cubicBezTo>
                      <a:pt x="1941" y="449"/>
                      <a:pt x="1941" y="449"/>
                      <a:pt x="1941" y="449"/>
                    </a:cubicBezTo>
                    <a:cubicBezTo>
                      <a:pt x="1941" y="450"/>
                      <a:pt x="1941" y="450"/>
                      <a:pt x="1941" y="450"/>
                    </a:cubicBezTo>
                    <a:cubicBezTo>
                      <a:pt x="1943" y="541"/>
                      <a:pt x="1925" y="682"/>
                      <a:pt x="1879" y="709"/>
                    </a:cubicBezTo>
                    <a:cubicBezTo>
                      <a:pt x="1869" y="715"/>
                      <a:pt x="1863" y="725"/>
                      <a:pt x="1863" y="737"/>
                    </a:cubicBezTo>
                    <a:cubicBezTo>
                      <a:pt x="1863" y="854"/>
                      <a:pt x="1863" y="854"/>
                      <a:pt x="1863" y="854"/>
                    </a:cubicBezTo>
                    <a:cubicBezTo>
                      <a:pt x="1553" y="854"/>
                      <a:pt x="1553" y="854"/>
                      <a:pt x="1553" y="854"/>
                    </a:cubicBezTo>
                    <a:cubicBezTo>
                      <a:pt x="1553" y="776"/>
                      <a:pt x="1553" y="776"/>
                      <a:pt x="1553" y="776"/>
                    </a:cubicBezTo>
                    <a:cubicBezTo>
                      <a:pt x="1553" y="766"/>
                      <a:pt x="1549" y="756"/>
                      <a:pt x="1541" y="750"/>
                    </a:cubicBezTo>
                    <a:cubicBezTo>
                      <a:pt x="1450" y="681"/>
                      <a:pt x="1443" y="643"/>
                      <a:pt x="1434" y="596"/>
                    </a:cubicBezTo>
                    <a:cubicBezTo>
                      <a:pt x="1427" y="560"/>
                      <a:pt x="1420" y="519"/>
                      <a:pt x="1381" y="466"/>
                    </a:cubicBezTo>
                    <a:cubicBezTo>
                      <a:pt x="1343" y="413"/>
                      <a:pt x="1346" y="383"/>
                      <a:pt x="1354" y="373"/>
                    </a:cubicBezTo>
                    <a:cubicBezTo>
                      <a:pt x="1367" y="363"/>
                      <a:pt x="1376" y="364"/>
                      <a:pt x="1383" y="365"/>
                    </a:cubicBezTo>
                    <a:cubicBezTo>
                      <a:pt x="1418" y="373"/>
                      <a:pt x="1459" y="430"/>
                      <a:pt x="1476" y="464"/>
                    </a:cubicBezTo>
                    <a:cubicBezTo>
                      <a:pt x="1484" y="480"/>
                      <a:pt x="1503" y="486"/>
                      <a:pt x="1519" y="478"/>
                    </a:cubicBezTo>
                    <a:cubicBezTo>
                      <a:pt x="1532" y="472"/>
                      <a:pt x="1538" y="460"/>
                      <a:pt x="1537" y="447"/>
                    </a:cubicBezTo>
                    <a:cubicBezTo>
                      <a:pt x="1537" y="446"/>
                      <a:pt x="1537" y="446"/>
                      <a:pt x="1537" y="445"/>
                    </a:cubicBezTo>
                    <a:cubicBezTo>
                      <a:pt x="1537" y="312"/>
                      <a:pt x="1537" y="312"/>
                      <a:pt x="1537" y="312"/>
                    </a:cubicBezTo>
                    <a:cubicBezTo>
                      <a:pt x="1537" y="148"/>
                      <a:pt x="1537" y="148"/>
                      <a:pt x="1537" y="148"/>
                    </a:cubicBezTo>
                    <a:cubicBezTo>
                      <a:pt x="1537" y="146"/>
                      <a:pt x="1537" y="146"/>
                      <a:pt x="1537" y="146"/>
                    </a:cubicBezTo>
                    <a:cubicBezTo>
                      <a:pt x="1537" y="132"/>
                      <a:pt x="1549" y="121"/>
                      <a:pt x="1562" y="121"/>
                    </a:cubicBezTo>
                    <a:cubicBezTo>
                      <a:pt x="1565" y="121"/>
                      <a:pt x="1565" y="121"/>
                      <a:pt x="1565" y="121"/>
                    </a:cubicBezTo>
                    <a:close/>
                    <a:moveTo>
                      <a:pt x="1472" y="146"/>
                    </a:moveTo>
                    <a:cubicBezTo>
                      <a:pt x="1472" y="148"/>
                      <a:pt x="1472" y="148"/>
                      <a:pt x="1472" y="148"/>
                    </a:cubicBezTo>
                    <a:cubicBezTo>
                      <a:pt x="1472" y="312"/>
                      <a:pt x="1472" y="312"/>
                      <a:pt x="1472" y="312"/>
                    </a:cubicBezTo>
                    <a:cubicBezTo>
                      <a:pt x="1472" y="348"/>
                      <a:pt x="1472" y="348"/>
                      <a:pt x="1472" y="348"/>
                    </a:cubicBezTo>
                    <a:cubicBezTo>
                      <a:pt x="1451" y="327"/>
                      <a:pt x="1426" y="308"/>
                      <a:pt x="1397" y="302"/>
                    </a:cubicBezTo>
                    <a:cubicBezTo>
                      <a:pt x="1367" y="295"/>
                      <a:pt x="1337" y="303"/>
                      <a:pt x="1311" y="324"/>
                    </a:cubicBezTo>
                    <a:cubicBezTo>
                      <a:pt x="1311" y="324"/>
                      <a:pt x="1311" y="324"/>
                      <a:pt x="1311" y="324"/>
                    </a:cubicBezTo>
                    <a:cubicBezTo>
                      <a:pt x="1308" y="327"/>
                      <a:pt x="1242" y="385"/>
                      <a:pt x="1329" y="504"/>
                    </a:cubicBezTo>
                    <a:cubicBezTo>
                      <a:pt x="1338" y="517"/>
                      <a:pt x="1345" y="529"/>
                      <a:pt x="1351" y="540"/>
                    </a:cubicBezTo>
                    <a:cubicBezTo>
                      <a:pt x="1062" y="540"/>
                      <a:pt x="1062" y="540"/>
                      <a:pt x="1062" y="540"/>
                    </a:cubicBezTo>
                    <a:cubicBezTo>
                      <a:pt x="1062" y="132"/>
                      <a:pt x="1062" y="132"/>
                      <a:pt x="1062" y="132"/>
                    </a:cubicBezTo>
                    <a:cubicBezTo>
                      <a:pt x="1474" y="132"/>
                      <a:pt x="1474" y="132"/>
                      <a:pt x="1474" y="132"/>
                    </a:cubicBezTo>
                    <a:cubicBezTo>
                      <a:pt x="1473" y="137"/>
                      <a:pt x="1472" y="141"/>
                      <a:pt x="1472" y="146"/>
                    </a:cubicBezTo>
                    <a:close/>
                    <a:moveTo>
                      <a:pt x="919" y="132"/>
                    </a:moveTo>
                    <a:cubicBezTo>
                      <a:pt x="997" y="132"/>
                      <a:pt x="997" y="132"/>
                      <a:pt x="997" y="132"/>
                    </a:cubicBezTo>
                    <a:cubicBezTo>
                      <a:pt x="997" y="540"/>
                      <a:pt x="997" y="540"/>
                      <a:pt x="997" y="540"/>
                    </a:cubicBezTo>
                    <a:cubicBezTo>
                      <a:pt x="919" y="540"/>
                      <a:pt x="919" y="540"/>
                      <a:pt x="919" y="540"/>
                    </a:cubicBezTo>
                    <a:lnTo>
                      <a:pt x="919" y="132"/>
                    </a:lnTo>
                    <a:close/>
                    <a:moveTo>
                      <a:pt x="65" y="366"/>
                    </a:moveTo>
                    <a:cubicBezTo>
                      <a:pt x="65" y="352"/>
                      <a:pt x="76" y="341"/>
                      <a:pt x="90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140" y="341"/>
                      <a:pt x="143" y="342"/>
                      <a:pt x="146" y="342"/>
                    </a:cubicBezTo>
                    <a:cubicBezTo>
                      <a:pt x="217" y="342"/>
                      <a:pt x="217" y="342"/>
                      <a:pt x="217" y="342"/>
                    </a:cubicBezTo>
                    <a:cubicBezTo>
                      <a:pt x="219" y="342"/>
                      <a:pt x="221" y="341"/>
                      <a:pt x="223" y="341"/>
                    </a:cubicBezTo>
                    <a:cubicBezTo>
                      <a:pt x="424" y="341"/>
                      <a:pt x="424" y="341"/>
                      <a:pt x="424" y="341"/>
                    </a:cubicBezTo>
                    <a:cubicBezTo>
                      <a:pt x="442" y="341"/>
                      <a:pt x="456" y="326"/>
                      <a:pt x="456" y="309"/>
                    </a:cubicBezTo>
                    <a:cubicBezTo>
                      <a:pt x="456" y="291"/>
                      <a:pt x="442" y="276"/>
                      <a:pt x="424" y="276"/>
                    </a:cubicBezTo>
                    <a:cubicBezTo>
                      <a:pt x="201" y="276"/>
                      <a:pt x="201" y="276"/>
                      <a:pt x="201" y="276"/>
                    </a:cubicBezTo>
                    <a:cubicBezTo>
                      <a:pt x="199" y="276"/>
                      <a:pt x="197" y="276"/>
                      <a:pt x="196" y="277"/>
                    </a:cubicBezTo>
                    <a:cubicBezTo>
                      <a:pt x="195" y="277"/>
                      <a:pt x="195" y="277"/>
                      <a:pt x="195" y="277"/>
                    </a:cubicBezTo>
                    <a:cubicBezTo>
                      <a:pt x="193" y="276"/>
                      <a:pt x="191" y="276"/>
                      <a:pt x="189" y="276"/>
                    </a:cubicBezTo>
                    <a:cubicBezTo>
                      <a:pt x="141" y="276"/>
                      <a:pt x="141" y="276"/>
                      <a:pt x="141" y="276"/>
                    </a:cubicBezTo>
                    <a:cubicBezTo>
                      <a:pt x="130" y="274"/>
                      <a:pt x="121" y="264"/>
                      <a:pt x="121" y="252"/>
                    </a:cubicBezTo>
                    <a:cubicBezTo>
                      <a:pt x="121" y="249"/>
                      <a:pt x="121" y="249"/>
                      <a:pt x="121" y="249"/>
                    </a:cubicBezTo>
                    <a:cubicBezTo>
                      <a:pt x="121" y="235"/>
                      <a:pt x="132" y="224"/>
                      <a:pt x="146" y="224"/>
                    </a:cubicBezTo>
                    <a:cubicBezTo>
                      <a:pt x="261" y="224"/>
                      <a:pt x="261" y="224"/>
                      <a:pt x="261" y="224"/>
                    </a:cubicBezTo>
                    <a:cubicBezTo>
                      <a:pt x="284" y="224"/>
                      <a:pt x="284" y="224"/>
                      <a:pt x="284" y="224"/>
                    </a:cubicBezTo>
                    <a:cubicBezTo>
                      <a:pt x="424" y="224"/>
                      <a:pt x="424" y="224"/>
                      <a:pt x="424" y="224"/>
                    </a:cubicBezTo>
                    <a:cubicBezTo>
                      <a:pt x="442" y="224"/>
                      <a:pt x="456" y="210"/>
                      <a:pt x="456" y="192"/>
                    </a:cubicBezTo>
                    <a:cubicBezTo>
                      <a:pt x="456" y="174"/>
                      <a:pt x="442" y="159"/>
                      <a:pt x="424" y="159"/>
                    </a:cubicBezTo>
                    <a:cubicBezTo>
                      <a:pt x="284" y="159"/>
                      <a:pt x="284" y="159"/>
                      <a:pt x="284" y="159"/>
                    </a:cubicBezTo>
                    <a:cubicBezTo>
                      <a:pt x="270" y="159"/>
                      <a:pt x="259" y="148"/>
                      <a:pt x="259" y="134"/>
                    </a:cubicBezTo>
                    <a:cubicBezTo>
                      <a:pt x="259" y="132"/>
                      <a:pt x="259" y="132"/>
                      <a:pt x="259" y="132"/>
                    </a:cubicBezTo>
                    <a:cubicBezTo>
                      <a:pt x="259" y="118"/>
                      <a:pt x="270" y="107"/>
                      <a:pt x="284" y="107"/>
                    </a:cubicBezTo>
                    <a:cubicBezTo>
                      <a:pt x="449" y="107"/>
                      <a:pt x="449" y="107"/>
                      <a:pt x="449" y="107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541" y="105"/>
                      <a:pt x="682" y="123"/>
                      <a:pt x="709" y="169"/>
                    </a:cubicBezTo>
                    <a:cubicBezTo>
                      <a:pt x="715" y="179"/>
                      <a:pt x="725" y="185"/>
                      <a:pt x="737" y="185"/>
                    </a:cubicBezTo>
                    <a:cubicBezTo>
                      <a:pt x="854" y="185"/>
                      <a:pt x="854" y="185"/>
                      <a:pt x="854" y="185"/>
                    </a:cubicBezTo>
                    <a:cubicBezTo>
                      <a:pt x="854" y="495"/>
                      <a:pt x="854" y="495"/>
                      <a:pt x="854" y="495"/>
                    </a:cubicBezTo>
                    <a:cubicBezTo>
                      <a:pt x="776" y="495"/>
                      <a:pt x="776" y="495"/>
                      <a:pt x="776" y="495"/>
                    </a:cubicBezTo>
                    <a:cubicBezTo>
                      <a:pt x="766" y="495"/>
                      <a:pt x="756" y="499"/>
                      <a:pt x="750" y="507"/>
                    </a:cubicBezTo>
                    <a:cubicBezTo>
                      <a:pt x="681" y="598"/>
                      <a:pt x="643" y="605"/>
                      <a:pt x="596" y="614"/>
                    </a:cubicBezTo>
                    <a:cubicBezTo>
                      <a:pt x="560" y="621"/>
                      <a:pt x="519" y="628"/>
                      <a:pt x="466" y="667"/>
                    </a:cubicBezTo>
                    <a:cubicBezTo>
                      <a:pt x="413" y="705"/>
                      <a:pt x="383" y="702"/>
                      <a:pt x="373" y="694"/>
                    </a:cubicBezTo>
                    <a:cubicBezTo>
                      <a:pt x="363" y="681"/>
                      <a:pt x="364" y="672"/>
                      <a:pt x="365" y="665"/>
                    </a:cubicBezTo>
                    <a:cubicBezTo>
                      <a:pt x="373" y="630"/>
                      <a:pt x="430" y="589"/>
                      <a:pt x="464" y="572"/>
                    </a:cubicBezTo>
                    <a:cubicBezTo>
                      <a:pt x="480" y="564"/>
                      <a:pt x="486" y="545"/>
                      <a:pt x="478" y="529"/>
                    </a:cubicBezTo>
                    <a:cubicBezTo>
                      <a:pt x="472" y="516"/>
                      <a:pt x="460" y="510"/>
                      <a:pt x="447" y="511"/>
                    </a:cubicBezTo>
                    <a:cubicBezTo>
                      <a:pt x="446" y="511"/>
                      <a:pt x="446" y="511"/>
                      <a:pt x="445" y="511"/>
                    </a:cubicBezTo>
                    <a:cubicBezTo>
                      <a:pt x="312" y="511"/>
                      <a:pt x="312" y="511"/>
                      <a:pt x="312" y="511"/>
                    </a:cubicBezTo>
                    <a:cubicBezTo>
                      <a:pt x="148" y="511"/>
                      <a:pt x="148" y="511"/>
                      <a:pt x="148" y="511"/>
                    </a:cubicBezTo>
                    <a:cubicBezTo>
                      <a:pt x="146" y="511"/>
                      <a:pt x="146" y="511"/>
                      <a:pt x="146" y="511"/>
                    </a:cubicBezTo>
                    <a:cubicBezTo>
                      <a:pt x="132" y="511"/>
                      <a:pt x="121" y="499"/>
                      <a:pt x="121" y="486"/>
                    </a:cubicBezTo>
                    <a:cubicBezTo>
                      <a:pt x="121" y="483"/>
                      <a:pt x="121" y="483"/>
                      <a:pt x="121" y="483"/>
                    </a:cubicBezTo>
                    <a:cubicBezTo>
                      <a:pt x="121" y="470"/>
                      <a:pt x="132" y="458"/>
                      <a:pt x="146" y="458"/>
                    </a:cubicBezTo>
                    <a:cubicBezTo>
                      <a:pt x="146" y="458"/>
                      <a:pt x="147" y="458"/>
                      <a:pt x="147" y="458"/>
                    </a:cubicBezTo>
                    <a:cubicBezTo>
                      <a:pt x="148" y="458"/>
                      <a:pt x="148" y="458"/>
                      <a:pt x="148" y="458"/>
                    </a:cubicBezTo>
                    <a:cubicBezTo>
                      <a:pt x="424" y="458"/>
                      <a:pt x="424" y="458"/>
                      <a:pt x="424" y="458"/>
                    </a:cubicBezTo>
                    <a:cubicBezTo>
                      <a:pt x="442" y="458"/>
                      <a:pt x="456" y="444"/>
                      <a:pt x="456" y="426"/>
                    </a:cubicBezTo>
                    <a:cubicBezTo>
                      <a:pt x="456" y="408"/>
                      <a:pt x="442" y="393"/>
                      <a:pt x="424" y="393"/>
                    </a:cubicBezTo>
                    <a:cubicBezTo>
                      <a:pt x="148" y="393"/>
                      <a:pt x="148" y="393"/>
                      <a:pt x="148" y="393"/>
                    </a:cubicBezTo>
                    <a:cubicBezTo>
                      <a:pt x="148" y="393"/>
                      <a:pt x="148" y="393"/>
                      <a:pt x="147" y="393"/>
                    </a:cubicBezTo>
                    <a:cubicBezTo>
                      <a:pt x="147" y="393"/>
                      <a:pt x="146" y="393"/>
                      <a:pt x="146" y="393"/>
                    </a:cubicBezTo>
                    <a:cubicBezTo>
                      <a:pt x="90" y="393"/>
                      <a:pt x="90" y="393"/>
                      <a:pt x="90" y="393"/>
                    </a:cubicBezTo>
                    <a:cubicBezTo>
                      <a:pt x="76" y="393"/>
                      <a:pt x="65" y="382"/>
                      <a:pt x="65" y="368"/>
                    </a:cubicBezTo>
                    <a:lnTo>
                      <a:pt x="65" y="366"/>
                    </a:lnTo>
                    <a:close/>
                    <a:moveTo>
                      <a:pt x="540" y="1129"/>
                    </a:moveTo>
                    <a:cubicBezTo>
                      <a:pt x="132" y="1129"/>
                      <a:pt x="132" y="1129"/>
                      <a:pt x="132" y="1129"/>
                    </a:cubicBezTo>
                    <a:cubicBezTo>
                      <a:pt x="132" y="1051"/>
                      <a:pt x="132" y="1051"/>
                      <a:pt x="132" y="1051"/>
                    </a:cubicBezTo>
                    <a:cubicBezTo>
                      <a:pt x="540" y="1051"/>
                      <a:pt x="540" y="1051"/>
                      <a:pt x="540" y="1051"/>
                    </a:cubicBezTo>
                    <a:lnTo>
                      <a:pt x="540" y="1129"/>
                    </a:lnTo>
                    <a:close/>
                    <a:moveTo>
                      <a:pt x="540" y="986"/>
                    </a:moveTo>
                    <a:cubicBezTo>
                      <a:pt x="132" y="986"/>
                      <a:pt x="132" y="986"/>
                      <a:pt x="132" y="986"/>
                    </a:cubicBezTo>
                    <a:cubicBezTo>
                      <a:pt x="132" y="574"/>
                      <a:pt x="132" y="574"/>
                      <a:pt x="132" y="574"/>
                    </a:cubicBezTo>
                    <a:cubicBezTo>
                      <a:pt x="137" y="575"/>
                      <a:pt x="141" y="576"/>
                      <a:pt x="146" y="576"/>
                    </a:cubicBezTo>
                    <a:cubicBezTo>
                      <a:pt x="148" y="576"/>
                      <a:pt x="148" y="576"/>
                      <a:pt x="148" y="576"/>
                    </a:cubicBezTo>
                    <a:cubicBezTo>
                      <a:pt x="312" y="576"/>
                      <a:pt x="312" y="576"/>
                      <a:pt x="312" y="576"/>
                    </a:cubicBezTo>
                    <a:cubicBezTo>
                      <a:pt x="348" y="576"/>
                      <a:pt x="348" y="576"/>
                      <a:pt x="348" y="576"/>
                    </a:cubicBezTo>
                    <a:cubicBezTo>
                      <a:pt x="327" y="597"/>
                      <a:pt x="308" y="622"/>
                      <a:pt x="302" y="651"/>
                    </a:cubicBezTo>
                    <a:cubicBezTo>
                      <a:pt x="295" y="681"/>
                      <a:pt x="303" y="711"/>
                      <a:pt x="324" y="737"/>
                    </a:cubicBezTo>
                    <a:cubicBezTo>
                      <a:pt x="324" y="737"/>
                      <a:pt x="324" y="737"/>
                      <a:pt x="324" y="737"/>
                    </a:cubicBezTo>
                    <a:cubicBezTo>
                      <a:pt x="326" y="739"/>
                      <a:pt x="348" y="764"/>
                      <a:pt x="392" y="764"/>
                    </a:cubicBezTo>
                    <a:cubicBezTo>
                      <a:pt x="420" y="764"/>
                      <a:pt x="457" y="753"/>
                      <a:pt x="504" y="719"/>
                    </a:cubicBezTo>
                    <a:cubicBezTo>
                      <a:pt x="517" y="710"/>
                      <a:pt x="529" y="703"/>
                      <a:pt x="540" y="697"/>
                    </a:cubicBezTo>
                    <a:cubicBezTo>
                      <a:pt x="540" y="986"/>
                      <a:pt x="540" y="986"/>
                      <a:pt x="540" y="986"/>
                    </a:cubicBezTo>
                    <a:close/>
                    <a:moveTo>
                      <a:pt x="694" y="1675"/>
                    </a:moveTo>
                    <a:cubicBezTo>
                      <a:pt x="681" y="1685"/>
                      <a:pt x="672" y="1684"/>
                      <a:pt x="665" y="1683"/>
                    </a:cubicBezTo>
                    <a:cubicBezTo>
                      <a:pt x="630" y="1675"/>
                      <a:pt x="589" y="1618"/>
                      <a:pt x="572" y="1584"/>
                    </a:cubicBezTo>
                    <a:cubicBezTo>
                      <a:pt x="564" y="1568"/>
                      <a:pt x="545" y="1562"/>
                      <a:pt x="529" y="1570"/>
                    </a:cubicBezTo>
                    <a:cubicBezTo>
                      <a:pt x="516" y="1576"/>
                      <a:pt x="510" y="1588"/>
                      <a:pt x="511" y="1601"/>
                    </a:cubicBezTo>
                    <a:cubicBezTo>
                      <a:pt x="511" y="1602"/>
                      <a:pt x="511" y="1602"/>
                      <a:pt x="511" y="1603"/>
                    </a:cubicBezTo>
                    <a:cubicBezTo>
                      <a:pt x="511" y="1736"/>
                      <a:pt x="511" y="1736"/>
                      <a:pt x="511" y="1736"/>
                    </a:cubicBezTo>
                    <a:cubicBezTo>
                      <a:pt x="511" y="1900"/>
                      <a:pt x="511" y="1900"/>
                      <a:pt x="511" y="1900"/>
                    </a:cubicBezTo>
                    <a:cubicBezTo>
                      <a:pt x="511" y="1902"/>
                      <a:pt x="511" y="1902"/>
                      <a:pt x="511" y="1902"/>
                    </a:cubicBezTo>
                    <a:cubicBezTo>
                      <a:pt x="511" y="1916"/>
                      <a:pt x="499" y="1927"/>
                      <a:pt x="486" y="1927"/>
                    </a:cubicBezTo>
                    <a:cubicBezTo>
                      <a:pt x="483" y="1927"/>
                      <a:pt x="483" y="1927"/>
                      <a:pt x="483" y="1927"/>
                    </a:cubicBezTo>
                    <a:cubicBezTo>
                      <a:pt x="470" y="1927"/>
                      <a:pt x="458" y="1916"/>
                      <a:pt x="458" y="1902"/>
                    </a:cubicBezTo>
                    <a:cubicBezTo>
                      <a:pt x="458" y="1902"/>
                      <a:pt x="458" y="1901"/>
                      <a:pt x="458" y="1901"/>
                    </a:cubicBezTo>
                    <a:cubicBezTo>
                      <a:pt x="458" y="1900"/>
                      <a:pt x="458" y="1900"/>
                      <a:pt x="458" y="1900"/>
                    </a:cubicBezTo>
                    <a:cubicBezTo>
                      <a:pt x="458" y="1624"/>
                      <a:pt x="458" y="1624"/>
                      <a:pt x="458" y="1624"/>
                    </a:cubicBezTo>
                    <a:cubicBezTo>
                      <a:pt x="458" y="1606"/>
                      <a:pt x="444" y="1592"/>
                      <a:pt x="426" y="1592"/>
                    </a:cubicBezTo>
                    <a:cubicBezTo>
                      <a:pt x="408" y="1592"/>
                      <a:pt x="393" y="1606"/>
                      <a:pt x="393" y="1624"/>
                    </a:cubicBezTo>
                    <a:cubicBezTo>
                      <a:pt x="393" y="1900"/>
                      <a:pt x="393" y="1900"/>
                      <a:pt x="393" y="1900"/>
                    </a:cubicBezTo>
                    <a:cubicBezTo>
                      <a:pt x="393" y="1900"/>
                      <a:pt x="393" y="1900"/>
                      <a:pt x="393" y="1901"/>
                    </a:cubicBezTo>
                    <a:cubicBezTo>
                      <a:pt x="393" y="1901"/>
                      <a:pt x="393" y="1902"/>
                      <a:pt x="393" y="1902"/>
                    </a:cubicBezTo>
                    <a:cubicBezTo>
                      <a:pt x="393" y="1958"/>
                      <a:pt x="393" y="1958"/>
                      <a:pt x="393" y="1958"/>
                    </a:cubicBezTo>
                    <a:cubicBezTo>
                      <a:pt x="393" y="1972"/>
                      <a:pt x="382" y="1983"/>
                      <a:pt x="368" y="1983"/>
                    </a:cubicBezTo>
                    <a:cubicBezTo>
                      <a:pt x="366" y="1983"/>
                      <a:pt x="366" y="1983"/>
                      <a:pt x="366" y="1983"/>
                    </a:cubicBezTo>
                    <a:cubicBezTo>
                      <a:pt x="352" y="1983"/>
                      <a:pt x="341" y="1972"/>
                      <a:pt x="341" y="1958"/>
                    </a:cubicBezTo>
                    <a:cubicBezTo>
                      <a:pt x="341" y="1911"/>
                      <a:pt x="341" y="1911"/>
                      <a:pt x="341" y="1911"/>
                    </a:cubicBezTo>
                    <a:cubicBezTo>
                      <a:pt x="341" y="1908"/>
                      <a:pt x="342" y="1905"/>
                      <a:pt x="342" y="1902"/>
                    </a:cubicBezTo>
                    <a:cubicBezTo>
                      <a:pt x="342" y="1831"/>
                      <a:pt x="342" y="1831"/>
                      <a:pt x="342" y="1831"/>
                    </a:cubicBezTo>
                    <a:cubicBezTo>
                      <a:pt x="342" y="1829"/>
                      <a:pt x="341" y="1827"/>
                      <a:pt x="341" y="1825"/>
                    </a:cubicBezTo>
                    <a:cubicBezTo>
                      <a:pt x="341" y="1624"/>
                      <a:pt x="341" y="1624"/>
                      <a:pt x="341" y="1624"/>
                    </a:cubicBezTo>
                    <a:cubicBezTo>
                      <a:pt x="341" y="1606"/>
                      <a:pt x="326" y="1592"/>
                      <a:pt x="309" y="1592"/>
                    </a:cubicBezTo>
                    <a:cubicBezTo>
                      <a:pt x="291" y="1592"/>
                      <a:pt x="276" y="1606"/>
                      <a:pt x="276" y="1624"/>
                    </a:cubicBezTo>
                    <a:cubicBezTo>
                      <a:pt x="276" y="1847"/>
                      <a:pt x="276" y="1847"/>
                      <a:pt x="276" y="1847"/>
                    </a:cubicBezTo>
                    <a:cubicBezTo>
                      <a:pt x="276" y="1849"/>
                      <a:pt x="276" y="1851"/>
                      <a:pt x="277" y="1852"/>
                    </a:cubicBezTo>
                    <a:cubicBezTo>
                      <a:pt x="277" y="1853"/>
                      <a:pt x="277" y="1853"/>
                      <a:pt x="277" y="1853"/>
                    </a:cubicBezTo>
                    <a:cubicBezTo>
                      <a:pt x="276" y="1855"/>
                      <a:pt x="276" y="1857"/>
                      <a:pt x="276" y="1859"/>
                    </a:cubicBezTo>
                    <a:cubicBezTo>
                      <a:pt x="276" y="1907"/>
                      <a:pt x="276" y="1907"/>
                      <a:pt x="276" y="1907"/>
                    </a:cubicBezTo>
                    <a:cubicBezTo>
                      <a:pt x="274" y="1918"/>
                      <a:pt x="264" y="1927"/>
                      <a:pt x="252" y="1927"/>
                    </a:cubicBezTo>
                    <a:cubicBezTo>
                      <a:pt x="249" y="1927"/>
                      <a:pt x="249" y="1927"/>
                      <a:pt x="249" y="1927"/>
                    </a:cubicBezTo>
                    <a:cubicBezTo>
                      <a:pt x="235" y="1927"/>
                      <a:pt x="224" y="1916"/>
                      <a:pt x="224" y="1902"/>
                    </a:cubicBezTo>
                    <a:cubicBezTo>
                      <a:pt x="224" y="1787"/>
                      <a:pt x="224" y="1787"/>
                      <a:pt x="224" y="1787"/>
                    </a:cubicBezTo>
                    <a:cubicBezTo>
                      <a:pt x="224" y="1764"/>
                      <a:pt x="224" y="1764"/>
                      <a:pt x="224" y="1764"/>
                    </a:cubicBezTo>
                    <a:cubicBezTo>
                      <a:pt x="224" y="1624"/>
                      <a:pt x="224" y="1624"/>
                      <a:pt x="224" y="1624"/>
                    </a:cubicBezTo>
                    <a:cubicBezTo>
                      <a:pt x="224" y="1606"/>
                      <a:pt x="210" y="1592"/>
                      <a:pt x="192" y="1592"/>
                    </a:cubicBezTo>
                    <a:cubicBezTo>
                      <a:pt x="174" y="1592"/>
                      <a:pt x="159" y="1606"/>
                      <a:pt x="159" y="1624"/>
                    </a:cubicBezTo>
                    <a:cubicBezTo>
                      <a:pt x="159" y="1764"/>
                      <a:pt x="159" y="1764"/>
                      <a:pt x="159" y="1764"/>
                    </a:cubicBezTo>
                    <a:cubicBezTo>
                      <a:pt x="159" y="1778"/>
                      <a:pt x="148" y="1789"/>
                      <a:pt x="134" y="1789"/>
                    </a:cubicBezTo>
                    <a:cubicBezTo>
                      <a:pt x="132" y="1789"/>
                      <a:pt x="132" y="1789"/>
                      <a:pt x="132" y="1789"/>
                    </a:cubicBezTo>
                    <a:cubicBezTo>
                      <a:pt x="118" y="1789"/>
                      <a:pt x="107" y="1778"/>
                      <a:pt x="107" y="1764"/>
                    </a:cubicBezTo>
                    <a:cubicBezTo>
                      <a:pt x="107" y="1599"/>
                      <a:pt x="107" y="1599"/>
                      <a:pt x="107" y="1599"/>
                    </a:cubicBezTo>
                    <a:cubicBezTo>
                      <a:pt x="107" y="1598"/>
                      <a:pt x="107" y="1598"/>
                      <a:pt x="107" y="1598"/>
                    </a:cubicBezTo>
                    <a:cubicBezTo>
                      <a:pt x="105" y="1507"/>
                      <a:pt x="123" y="1366"/>
                      <a:pt x="169" y="1339"/>
                    </a:cubicBezTo>
                    <a:cubicBezTo>
                      <a:pt x="179" y="1333"/>
                      <a:pt x="185" y="1323"/>
                      <a:pt x="185" y="1311"/>
                    </a:cubicBezTo>
                    <a:cubicBezTo>
                      <a:pt x="185" y="1194"/>
                      <a:pt x="185" y="1194"/>
                      <a:pt x="185" y="1194"/>
                    </a:cubicBezTo>
                    <a:cubicBezTo>
                      <a:pt x="495" y="1194"/>
                      <a:pt x="495" y="1194"/>
                      <a:pt x="495" y="1194"/>
                    </a:cubicBezTo>
                    <a:cubicBezTo>
                      <a:pt x="495" y="1272"/>
                      <a:pt x="495" y="1272"/>
                      <a:pt x="495" y="1272"/>
                    </a:cubicBezTo>
                    <a:cubicBezTo>
                      <a:pt x="495" y="1282"/>
                      <a:pt x="499" y="1292"/>
                      <a:pt x="507" y="1298"/>
                    </a:cubicBezTo>
                    <a:cubicBezTo>
                      <a:pt x="598" y="1367"/>
                      <a:pt x="605" y="1405"/>
                      <a:pt x="614" y="1452"/>
                    </a:cubicBezTo>
                    <a:cubicBezTo>
                      <a:pt x="616" y="1462"/>
                      <a:pt x="618" y="1472"/>
                      <a:pt x="620" y="1482"/>
                    </a:cubicBezTo>
                    <a:cubicBezTo>
                      <a:pt x="620" y="1482"/>
                      <a:pt x="620" y="1482"/>
                      <a:pt x="620" y="1482"/>
                    </a:cubicBezTo>
                    <a:cubicBezTo>
                      <a:pt x="627" y="1511"/>
                      <a:pt x="638" y="1543"/>
                      <a:pt x="667" y="1582"/>
                    </a:cubicBezTo>
                    <a:cubicBezTo>
                      <a:pt x="705" y="1635"/>
                      <a:pt x="702" y="1665"/>
                      <a:pt x="694" y="1675"/>
                    </a:cubicBezTo>
                    <a:close/>
                    <a:moveTo>
                      <a:pt x="678" y="1441"/>
                    </a:moveTo>
                    <a:cubicBezTo>
                      <a:pt x="669" y="1389"/>
                      <a:pt x="659" y="1335"/>
                      <a:pt x="560" y="1256"/>
                    </a:cubicBezTo>
                    <a:cubicBezTo>
                      <a:pt x="560" y="1194"/>
                      <a:pt x="560" y="1194"/>
                      <a:pt x="560" y="1194"/>
                    </a:cubicBezTo>
                    <a:cubicBezTo>
                      <a:pt x="573" y="1194"/>
                      <a:pt x="573" y="1194"/>
                      <a:pt x="573" y="1194"/>
                    </a:cubicBezTo>
                    <a:cubicBezTo>
                      <a:pt x="591" y="1194"/>
                      <a:pt x="605" y="1180"/>
                      <a:pt x="605" y="1162"/>
                    </a:cubicBezTo>
                    <a:cubicBezTo>
                      <a:pt x="605" y="678"/>
                      <a:pt x="605" y="678"/>
                      <a:pt x="605" y="678"/>
                    </a:cubicBezTo>
                    <a:cubicBezTo>
                      <a:pt x="606" y="678"/>
                      <a:pt x="607" y="678"/>
                      <a:pt x="607" y="678"/>
                    </a:cubicBezTo>
                    <a:cubicBezTo>
                      <a:pt x="659" y="669"/>
                      <a:pt x="713" y="659"/>
                      <a:pt x="792" y="560"/>
                    </a:cubicBezTo>
                    <a:cubicBezTo>
                      <a:pt x="854" y="560"/>
                      <a:pt x="854" y="560"/>
                      <a:pt x="854" y="560"/>
                    </a:cubicBezTo>
                    <a:cubicBezTo>
                      <a:pt x="854" y="573"/>
                      <a:pt x="854" y="573"/>
                      <a:pt x="854" y="573"/>
                    </a:cubicBezTo>
                    <a:cubicBezTo>
                      <a:pt x="854" y="591"/>
                      <a:pt x="868" y="605"/>
                      <a:pt x="886" y="605"/>
                    </a:cubicBezTo>
                    <a:cubicBezTo>
                      <a:pt x="1370" y="605"/>
                      <a:pt x="1370" y="605"/>
                      <a:pt x="1370" y="605"/>
                    </a:cubicBezTo>
                    <a:cubicBezTo>
                      <a:pt x="1370" y="606"/>
                      <a:pt x="1370" y="607"/>
                      <a:pt x="1370" y="607"/>
                    </a:cubicBezTo>
                    <a:cubicBezTo>
                      <a:pt x="1379" y="659"/>
                      <a:pt x="1389" y="713"/>
                      <a:pt x="1488" y="792"/>
                    </a:cubicBezTo>
                    <a:cubicBezTo>
                      <a:pt x="1488" y="854"/>
                      <a:pt x="1488" y="854"/>
                      <a:pt x="1488" y="854"/>
                    </a:cubicBezTo>
                    <a:cubicBezTo>
                      <a:pt x="1475" y="854"/>
                      <a:pt x="1475" y="854"/>
                      <a:pt x="1475" y="854"/>
                    </a:cubicBezTo>
                    <a:cubicBezTo>
                      <a:pt x="1457" y="854"/>
                      <a:pt x="1443" y="869"/>
                      <a:pt x="1443" y="886"/>
                    </a:cubicBezTo>
                    <a:cubicBezTo>
                      <a:pt x="1443" y="1370"/>
                      <a:pt x="1443" y="1370"/>
                      <a:pt x="1443" y="1370"/>
                    </a:cubicBezTo>
                    <a:cubicBezTo>
                      <a:pt x="1442" y="1370"/>
                      <a:pt x="1441" y="1370"/>
                      <a:pt x="1441" y="1370"/>
                    </a:cubicBezTo>
                    <a:cubicBezTo>
                      <a:pt x="1389" y="1379"/>
                      <a:pt x="1335" y="1389"/>
                      <a:pt x="1256" y="1488"/>
                    </a:cubicBezTo>
                    <a:cubicBezTo>
                      <a:pt x="1194" y="1488"/>
                      <a:pt x="1194" y="1488"/>
                      <a:pt x="1194" y="1488"/>
                    </a:cubicBezTo>
                    <a:cubicBezTo>
                      <a:pt x="1194" y="1475"/>
                      <a:pt x="1194" y="1475"/>
                      <a:pt x="1194" y="1475"/>
                    </a:cubicBezTo>
                    <a:cubicBezTo>
                      <a:pt x="1194" y="1457"/>
                      <a:pt x="1179" y="1443"/>
                      <a:pt x="1162" y="1443"/>
                    </a:cubicBezTo>
                    <a:cubicBezTo>
                      <a:pt x="678" y="1443"/>
                      <a:pt x="678" y="1443"/>
                      <a:pt x="678" y="1443"/>
                    </a:cubicBezTo>
                    <a:cubicBezTo>
                      <a:pt x="678" y="1442"/>
                      <a:pt x="678" y="1441"/>
                      <a:pt x="678" y="1441"/>
                    </a:cubicBezTo>
                    <a:close/>
                    <a:moveTo>
                      <a:pt x="1129" y="1916"/>
                    </a:moveTo>
                    <a:cubicBezTo>
                      <a:pt x="1051" y="1916"/>
                      <a:pt x="1051" y="1916"/>
                      <a:pt x="1051" y="1916"/>
                    </a:cubicBezTo>
                    <a:cubicBezTo>
                      <a:pt x="1051" y="1508"/>
                      <a:pt x="1051" y="1508"/>
                      <a:pt x="1051" y="1508"/>
                    </a:cubicBezTo>
                    <a:cubicBezTo>
                      <a:pt x="1129" y="1508"/>
                      <a:pt x="1129" y="1508"/>
                      <a:pt x="1129" y="1508"/>
                    </a:cubicBezTo>
                    <a:lnTo>
                      <a:pt x="1129" y="1916"/>
                    </a:lnTo>
                    <a:close/>
                    <a:moveTo>
                      <a:pt x="1927" y="1799"/>
                    </a:moveTo>
                    <a:cubicBezTo>
                      <a:pt x="1927" y="1813"/>
                      <a:pt x="1916" y="1824"/>
                      <a:pt x="1902" y="1824"/>
                    </a:cubicBezTo>
                    <a:cubicBezTo>
                      <a:pt x="1787" y="1824"/>
                      <a:pt x="1787" y="1824"/>
                      <a:pt x="1787" y="1824"/>
                    </a:cubicBezTo>
                    <a:cubicBezTo>
                      <a:pt x="1764" y="1824"/>
                      <a:pt x="1764" y="1824"/>
                      <a:pt x="1764" y="1824"/>
                    </a:cubicBezTo>
                    <a:cubicBezTo>
                      <a:pt x="1624" y="1824"/>
                      <a:pt x="1624" y="1824"/>
                      <a:pt x="1624" y="1824"/>
                    </a:cubicBezTo>
                    <a:cubicBezTo>
                      <a:pt x="1606" y="1824"/>
                      <a:pt x="1592" y="1838"/>
                      <a:pt x="1592" y="1856"/>
                    </a:cubicBezTo>
                    <a:cubicBezTo>
                      <a:pt x="1592" y="1874"/>
                      <a:pt x="1606" y="1889"/>
                      <a:pt x="1624" y="1889"/>
                    </a:cubicBezTo>
                    <a:cubicBezTo>
                      <a:pt x="1764" y="1889"/>
                      <a:pt x="1764" y="1889"/>
                      <a:pt x="1764" y="1889"/>
                    </a:cubicBezTo>
                    <a:cubicBezTo>
                      <a:pt x="1778" y="1889"/>
                      <a:pt x="1789" y="1900"/>
                      <a:pt x="1789" y="1914"/>
                    </a:cubicBezTo>
                    <a:cubicBezTo>
                      <a:pt x="1789" y="1916"/>
                      <a:pt x="1789" y="1916"/>
                      <a:pt x="1789" y="1916"/>
                    </a:cubicBezTo>
                    <a:cubicBezTo>
                      <a:pt x="1789" y="1930"/>
                      <a:pt x="1778" y="1941"/>
                      <a:pt x="1764" y="1941"/>
                    </a:cubicBezTo>
                    <a:cubicBezTo>
                      <a:pt x="1599" y="1941"/>
                      <a:pt x="1599" y="1941"/>
                      <a:pt x="1599" y="1941"/>
                    </a:cubicBezTo>
                    <a:cubicBezTo>
                      <a:pt x="1598" y="1941"/>
                      <a:pt x="1598" y="1941"/>
                      <a:pt x="1598" y="1941"/>
                    </a:cubicBezTo>
                    <a:cubicBezTo>
                      <a:pt x="1527" y="1943"/>
                      <a:pt x="1426" y="1932"/>
                      <a:pt x="1372" y="1905"/>
                    </a:cubicBezTo>
                    <a:cubicBezTo>
                      <a:pt x="1371" y="1904"/>
                      <a:pt x="1370" y="1903"/>
                      <a:pt x="1370" y="1902"/>
                    </a:cubicBezTo>
                    <a:cubicBezTo>
                      <a:pt x="1365" y="1894"/>
                      <a:pt x="1357" y="1889"/>
                      <a:pt x="1348" y="1889"/>
                    </a:cubicBezTo>
                    <a:cubicBezTo>
                      <a:pt x="1344" y="1886"/>
                      <a:pt x="1341" y="1882"/>
                      <a:pt x="1339" y="1879"/>
                    </a:cubicBezTo>
                    <a:cubicBezTo>
                      <a:pt x="1333" y="1869"/>
                      <a:pt x="1323" y="1863"/>
                      <a:pt x="1311" y="1863"/>
                    </a:cubicBezTo>
                    <a:cubicBezTo>
                      <a:pt x="1194" y="1863"/>
                      <a:pt x="1194" y="1863"/>
                      <a:pt x="1194" y="1863"/>
                    </a:cubicBezTo>
                    <a:cubicBezTo>
                      <a:pt x="1194" y="1553"/>
                      <a:pt x="1194" y="1553"/>
                      <a:pt x="1194" y="1553"/>
                    </a:cubicBezTo>
                    <a:cubicBezTo>
                      <a:pt x="1272" y="1553"/>
                      <a:pt x="1272" y="1553"/>
                      <a:pt x="1272" y="1553"/>
                    </a:cubicBezTo>
                    <a:cubicBezTo>
                      <a:pt x="1282" y="1553"/>
                      <a:pt x="1292" y="1549"/>
                      <a:pt x="1298" y="1541"/>
                    </a:cubicBezTo>
                    <a:cubicBezTo>
                      <a:pt x="1367" y="1450"/>
                      <a:pt x="1405" y="1443"/>
                      <a:pt x="1452" y="1434"/>
                    </a:cubicBezTo>
                    <a:cubicBezTo>
                      <a:pt x="1488" y="1427"/>
                      <a:pt x="1529" y="1420"/>
                      <a:pt x="1582" y="1381"/>
                    </a:cubicBezTo>
                    <a:cubicBezTo>
                      <a:pt x="1635" y="1343"/>
                      <a:pt x="1665" y="1346"/>
                      <a:pt x="1675" y="1354"/>
                    </a:cubicBezTo>
                    <a:cubicBezTo>
                      <a:pt x="1685" y="1367"/>
                      <a:pt x="1684" y="1376"/>
                      <a:pt x="1683" y="1383"/>
                    </a:cubicBezTo>
                    <a:cubicBezTo>
                      <a:pt x="1675" y="1418"/>
                      <a:pt x="1618" y="1459"/>
                      <a:pt x="1584" y="1476"/>
                    </a:cubicBezTo>
                    <a:cubicBezTo>
                      <a:pt x="1568" y="1484"/>
                      <a:pt x="1562" y="1503"/>
                      <a:pt x="1570" y="1519"/>
                    </a:cubicBezTo>
                    <a:cubicBezTo>
                      <a:pt x="1576" y="1532"/>
                      <a:pt x="1588" y="1538"/>
                      <a:pt x="1601" y="1537"/>
                    </a:cubicBezTo>
                    <a:cubicBezTo>
                      <a:pt x="1602" y="1537"/>
                      <a:pt x="1602" y="1537"/>
                      <a:pt x="1603" y="1537"/>
                    </a:cubicBezTo>
                    <a:cubicBezTo>
                      <a:pt x="1736" y="1537"/>
                      <a:pt x="1736" y="1537"/>
                      <a:pt x="1736" y="1537"/>
                    </a:cubicBezTo>
                    <a:cubicBezTo>
                      <a:pt x="1900" y="1537"/>
                      <a:pt x="1900" y="1537"/>
                      <a:pt x="1900" y="1537"/>
                    </a:cubicBezTo>
                    <a:cubicBezTo>
                      <a:pt x="1902" y="1537"/>
                      <a:pt x="1902" y="1537"/>
                      <a:pt x="1902" y="1537"/>
                    </a:cubicBezTo>
                    <a:cubicBezTo>
                      <a:pt x="1916" y="1537"/>
                      <a:pt x="1927" y="1549"/>
                      <a:pt x="1927" y="1562"/>
                    </a:cubicBezTo>
                    <a:cubicBezTo>
                      <a:pt x="1927" y="1565"/>
                      <a:pt x="1927" y="1565"/>
                      <a:pt x="1927" y="1565"/>
                    </a:cubicBezTo>
                    <a:cubicBezTo>
                      <a:pt x="1927" y="1578"/>
                      <a:pt x="1916" y="1590"/>
                      <a:pt x="1902" y="1590"/>
                    </a:cubicBezTo>
                    <a:cubicBezTo>
                      <a:pt x="1902" y="1590"/>
                      <a:pt x="1901" y="1590"/>
                      <a:pt x="1901" y="1590"/>
                    </a:cubicBezTo>
                    <a:cubicBezTo>
                      <a:pt x="1900" y="1590"/>
                      <a:pt x="1900" y="1590"/>
                      <a:pt x="1900" y="1590"/>
                    </a:cubicBezTo>
                    <a:cubicBezTo>
                      <a:pt x="1624" y="1590"/>
                      <a:pt x="1624" y="1590"/>
                      <a:pt x="1624" y="1590"/>
                    </a:cubicBezTo>
                    <a:cubicBezTo>
                      <a:pt x="1606" y="1590"/>
                      <a:pt x="1592" y="1604"/>
                      <a:pt x="1592" y="1622"/>
                    </a:cubicBezTo>
                    <a:cubicBezTo>
                      <a:pt x="1592" y="1640"/>
                      <a:pt x="1606" y="1655"/>
                      <a:pt x="1624" y="1655"/>
                    </a:cubicBezTo>
                    <a:cubicBezTo>
                      <a:pt x="1900" y="1655"/>
                      <a:pt x="1900" y="1655"/>
                      <a:pt x="1900" y="1655"/>
                    </a:cubicBezTo>
                    <a:cubicBezTo>
                      <a:pt x="1900" y="1655"/>
                      <a:pt x="1900" y="1655"/>
                      <a:pt x="1901" y="1655"/>
                    </a:cubicBezTo>
                    <a:cubicBezTo>
                      <a:pt x="1901" y="1655"/>
                      <a:pt x="1902" y="1655"/>
                      <a:pt x="1902" y="1655"/>
                    </a:cubicBezTo>
                    <a:cubicBezTo>
                      <a:pt x="1958" y="1655"/>
                      <a:pt x="1958" y="1655"/>
                      <a:pt x="1958" y="1655"/>
                    </a:cubicBezTo>
                    <a:cubicBezTo>
                      <a:pt x="1972" y="1655"/>
                      <a:pt x="1983" y="1666"/>
                      <a:pt x="1983" y="1680"/>
                    </a:cubicBezTo>
                    <a:cubicBezTo>
                      <a:pt x="1983" y="1682"/>
                      <a:pt x="1983" y="1682"/>
                      <a:pt x="1983" y="1682"/>
                    </a:cubicBezTo>
                    <a:cubicBezTo>
                      <a:pt x="1983" y="1696"/>
                      <a:pt x="1972" y="1707"/>
                      <a:pt x="1958" y="1707"/>
                    </a:cubicBezTo>
                    <a:cubicBezTo>
                      <a:pt x="1911" y="1707"/>
                      <a:pt x="1911" y="1707"/>
                      <a:pt x="1911" y="1707"/>
                    </a:cubicBezTo>
                    <a:cubicBezTo>
                      <a:pt x="1908" y="1707"/>
                      <a:pt x="1905" y="1706"/>
                      <a:pt x="1902" y="1706"/>
                    </a:cubicBezTo>
                    <a:cubicBezTo>
                      <a:pt x="1831" y="1706"/>
                      <a:pt x="1831" y="1706"/>
                      <a:pt x="1831" y="1706"/>
                    </a:cubicBezTo>
                    <a:cubicBezTo>
                      <a:pt x="1829" y="1706"/>
                      <a:pt x="1827" y="1707"/>
                      <a:pt x="1825" y="1707"/>
                    </a:cubicBezTo>
                    <a:cubicBezTo>
                      <a:pt x="1624" y="1707"/>
                      <a:pt x="1624" y="1707"/>
                      <a:pt x="1624" y="1707"/>
                    </a:cubicBezTo>
                    <a:cubicBezTo>
                      <a:pt x="1606" y="1707"/>
                      <a:pt x="1592" y="1722"/>
                      <a:pt x="1592" y="1739"/>
                    </a:cubicBezTo>
                    <a:cubicBezTo>
                      <a:pt x="1592" y="1757"/>
                      <a:pt x="1606" y="1772"/>
                      <a:pt x="1624" y="1772"/>
                    </a:cubicBezTo>
                    <a:cubicBezTo>
                      <a:pt x="1847" y="1772"/>
                      <a:pt x="1847" y="1772"/>
                      <a:pt x="1847" y="1772"/>
                    </a:cubicBezTo>
                    <a:cubicBezTo>
                      <a:pt x="1849" y="1772"/>
                      <a:pt x="1851" y="1772"/>
                      <a:pt x="1852" y="1771"/>
                    </a:cubicBezTo>
                    <a:cubicBezTo>
                      <a:pt x="1853" y="1771"/>
                      <a:pt x="1853" y="1771"/>
                      <a:pt x="1853" y="1771"/>
                    </a:cubicBezTo>
                    <a:cubicBezTo>
                      <a:pt x="1855" y="1772"/>
                      <a:pt x="1857" y="1772"/>
                      <a:pt x="1859" y="1772"/>
                    </a:cubicBezTo>
                    <a:cubicBezTo>
                      <a:pt x="1907" y="1772"/>
                      <a:pt x="1907" y="1772"/>
                      <a:pt x="1907" y="1772"/>
                    </a:cubicBezTo>
                    <a:cubicBezTo>
                      <a:pt x="1918" y="1774"/>
                      <a:pt x="1927" y="1784"/>
                      <a:pt x="1927" y="1796"/>
                    </a:cubicBezTo>
                    <a:cubicBezTo>
                      <a:pt x="1927" y="1799"/>
                      <a:pt x="1927" y="1799"/>
                      <a:pt x="1927" y="17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Freeform 48">
                <a:extLst>
                  <a:ext uri="{FF2B5EF4-FFF2-40B4-BE49-F238E27FC236}">
                    <a16:creationId xmlns:a16="http://schemas.microsoft.com/office/drawing/2014/main" id="{5D05F480-87FA-4CC3-BB12-DF10425F7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4850" y="3359151"/>
                <a:ext cx="33338" cy="23813"/>
              </a:xfrm>
              <a:custGeom>
                <a:avLst/>
                <a:gdLst>
                  <a:gd name="T0" fmla="*/ 54 w 87"/>
                  <a:gd name="T1" fmla="*/ 65 h 65"/>
                  <a:gd name="T2" fmla="*/ 87 w 87"/>
                  <a:gd name="T3" fmla="*/ 33 h 65"/>
                  <a:gd name="T4" fmla="*/ 54 w 87"/>
                  <a:gd name="T5" fmla="*/ 0 h 65"/>
                  <a:gd name="T6" fmla="*/ 32 w 87"/>
                  <a:gd name="T7" fmla="*/ 0 h 65"/>
                  <a:gd name="T8" fmla="*/ 0 w 87"/>
                  <a:gd name="T9" fmla="*/ 33 h 65"/>
                  <a:gd name="T10" fmla="*/ 32 w 87"/>
                  <a:gd name="T11" fmla="*/ 65 h 65"/>
                  <a:gd name="T12" fmla="*/ 54 w 87"/>
                  <a:gd name="T13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65">
                    <a:moveTo>
                      <a:pt x="54" y="65"/>
                    </a:moveTo>
                    <a:cubicBezTo>
                      <a:pt x="72" y="65"/>
                      <a:pt x="87" y="50"/>
                      <a:pt x="87" y="33"/>
                    </a:cubicBezTo>
                    <a:cubicBezTo>
                      <a:pt x="87" y="15"/>
                      <a:pt x="72" y="0"/>
                      <a:pt x="54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3"/>
                    </a:cubicBezTo>
                    <a:cubicBezTo>
                      <a:pt x="0" y="50"/>
                      <a:pt x="14" y="65"/>
                      <a:pt x="32" y="65"/>
                    </a:cubicBezTo>
                    <a:lnTo>
                      <a:pt x="5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5" name="Freeform 49">
                <a:extLst>
                  <a:ext uri="{FF2B5EF4-FFF2-40B4-BE49-F238E27FC236}">
                    <a16:creationId xmlns:a16="http://schemas.microsoft.com/office/drawing/2014/main" id="{3A71359F-52A1-4D89-B0CE-6EA154B43C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3575" y="3359151"/>
                <a:ext cx="31750" cy="23813"/>
              </a:xfrm>
              <a:custGeom>
                <a:avLst/>
                <a:gdLst>
                  <a:gd name="T0" fmla="*/ 32 w 87"/>
                  <a:gd name="T1" fmla="*/ 65 h 65"/>
                  <a:gd name="T2" fmla="*/ 55 w 87"/>
                  <a:gd name="T3" fmla="*/ 65 h 65"/>
                  <a:gd name="T4" fmla="*/ 87 w 87"/>
                  <a:gd name="T5" fmla="*/ 33 h 65"/>
                  <a:gd name="T6" fmla="*/ 55 w 87"/>
                  <a:gd name="T7" fmla="*/ 0 h 65"/>
                  <a:gd name="T8" fmla="*/ 32 w 87"/>
                  <a:gd name="T9" fmla="*/ 0 h 65"/>
                  <a:gd name="T10" fmla="*/ 0 w 87"/>
                  <a:gd name="T11" fmla="*/ 33 h 65"/>
                  <a:gd name="T12" fmla="*/ 32 w 87"/>
                  <a:gd name="T13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65">
                    <a:moveTo>
                      <a:pt x="32" y="65"/>
                    </a:moveTo>
                    <a:cubicBezTo>
                      <a:pt x="55" y="65"/>
                      <a:pt x="55" y="65"/>
                      <a:pt x="55" y="65"/>
                    </a:cubicBezTo>
                    <a:cubicBezTo>
                      <a:pt x="73" y="65"/>
                      <a:pt x="87" y="50"/>
                      <a:pt x="87" y="33"/>
                    </a:cubicBezTo>
                    <a:cubicBezTo>
                      <a:pt x="87" y="15"/>
                      <a:pt x="73" y="0"/>
                      <a:pt x="55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3"/>
                    </a:cubicBezTo>
                    <a:cubicBezTo>
                      <a:pt x="0" y="50"/>
                      <a:pt x="15" y="65"/>
                      <a:pt x="3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6" name="Freeform 50">
                <a:extLst>
                  <a:ext uri="{FF2B5EF4-FFF2-40B4-BE49-F238E27FC236}">
                    <a16:creationId xmlns:a16="http://schemas.microsoft.com/office/drawing/2014/main" id="{DB5C7E4A-493F-4EA9-AB03-C3E3255AB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8513" y="2735263"/>
                <a:ext cx="33338" cy="25400"/>
              </a:xfrm>
              <a:custGeom>
                <a:avLst/>
                <a:gdLst>
                  <a:gd name="T0" fmla="*/ 33 w 87"/>
                  <a:gd name="T1" fmla="*/ 65 h 65"/>
                  <a:gd name="T2" fmla="*/ 55 w 87"/>
                  <a:gd name="T3" fmla="*/ 65 h 65"/>
                  <a:gd name="T4" fmla="*/ 87 w 87"/>
                  <a:gd name="T5" fmla="*/ 32 h 65"/>
                  <a:gd name="T6" fmla="*/ 55 w 87"/>
                  <a:gd name="T7" fmla="*/ 0 h 65"/>
                  <a:gd name="T8" fmla="*/ 33 w 87"/>
                  <a:gd name="T9" fmla="*/ 0 h 65"/>
                  <a:gd name="T10" fmla="*/ 0 w 87"/>
                  <a:gd name="T11" fmla="*/ 32 h 65"/>
                  <a:gd name="T12" fmla="*/ 33 w 87"/>
                  <a:gd name="T13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65">
                    <a:moveTo>
                      <a:pt x="33" y="65"/>
                    </a:moveTo>
                    <a:cubicBezTo>
                      <a:pt x="55" y="65"/>
                      <a:pt x="55" y="65"/>
                      <a:pt x="55" y="65"/>
                    </a:cubicBezTo>
                    <a:cubicBezTo>
                      <a:pt x="73" y="65"/>
                      <a:pt x="87" y="50"/>
                      <a:pt x="87" y="32"/>
                    </a:cubicBezTo>
                    <a:cubicBezTo>
                      <a:pt x="87" y="14"/>
                      <a:pt x="73" y="0"/>
                      <a:pt x="5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50"/>
                      <a:pt x="15" y="65"/>
                      <a:pt x="3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7" name="Freeform 51">
                <a:extLst>
                  <a:ext uri="{FF2B5EF4-FFF2-40B4-BE49-F238E27FC236}">
                    <a16:creationId xmlns:a16="http://schemas.microsoft.com/office/drawing/2014/main" id="{552693A1-86F1-4B51-A2CF-DE8371B49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788" y="2735263"/>
                <a:ext cx="33338" cy="25400"/>
              </a:xfrm>
              <a:custGeom>
                <a:avLst/>
                <a:gdLst>
                  <a:gd name="T0" fmla="*/ 32 w 87"/>
                  <a:gd name="T1" fmla="*/ 65 h 65"/>
                  <a:gd name="T2" fmla="*/ 55 w 87"/>
                  <a:gd name="T3" fmla="*/ 65 h 65"/>
                  <a:gd name="T4" fmla="*/ 87 w 87"/>
                  <a:gd name="T5" fmla="*/ 32 h 65"/>
                  <a:gd name="T6" fmla="*/ 55 w 87"/>
                  <a:gd name="T7" fmla="*/ 0 h 65"/>
                  <a:gd name="T8" fmla="*/ 32 w 87"/>
                  <a:gd name="T9" fmla="*/ 0 h 65"/>
                  <a:gd name="T10" fmla="*/ 0 w 87"/>
                  <a:gd name="T11" fmla="*/ 32 h 65"/>
                  <a:gd name="T12" fmla="*/ 32 w 87"/>
                  <a:gd name="T13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65">
                    <a:moveTo>
                      <a:pt x="32" y="65"/>
                    </a:moveTo>
                    <a:cubicBezTo>
                      <a:pt x="55" y="65"/>
                      <a:pt x="55" y="65"/>
                      <a:pt x="55" y="65"/>
                    </a:cubicBezTo>
                    <a:cubicBezTo>
                      <a:pt x="72" y="65"/>
                      <a:pt x="87" y="50"/>
                      <a:pt x="87" y="32"/>
                    </a:cubicBezTo>
                    <a:cubicBezTo>
                      <a:pt x="87" y="14"/>
                      <a:pt x="72" y="0"/>
                      <a:pt x="55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50"/>
                      <a:pt x="14" y="65"/>
                      <a:pt x="3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108103" y="4329309"/>
            <a:ext cx="4368574" cy="1077274"/>
            <a:chOff x="1108103" y="4329309"/>
            <a:chExt cx="4368574" cy="1077274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AF8F40C-C477-4C35-B379-90344B4C9099}"/>
                </a:ext>
              </a:extLst>
            </p:cNvPr>
            <p:cNvSpPr/>
            <p:nvPr/>
          </p:nvSpPr>
          <p:spPr>
            <a:xfrm>
              <a:off x="2913628" y="4467037"/>
              <a:ext cx="2416317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0CF9B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HIGHEST GROSSING CATEGORY</a:t>
              </a: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8E867BD-BA31-4118-A2FB-A1AB14861509}"/>
                </a:ext>
              </a:extLst>
            </p:cNvPr>
            <p:cNvSpPr/>
            <p:nvPr/>
          </p:nvSpPr>
          <p:spPr>
            <a:xfrm>
              <a:off x="2913629" y="4761025"/>
              <a:ext cx="2563048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lang="en-US" sz="28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ports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82" name="Rectangle: Top Corners Rounded 181">
              <a:extLst>
                <a:ext uri="{FF2B5EF4-FFF2-40B4-BE49-F238E27FC236}">
                  <a16:creationId xmlns:a16="http://schemas.microsoft.com/office/drawing/2014/main" id="{D708D233-563F-4304-B808-3838CE79985C}"/>
                </a:ext>
              </a:extLst>
            </p:cNvPr>
            <p:cNvSpPr/>
            <p:nvPr/>
          </p:nvSpPr>
          <p:spPr>
            <a:xfrm rot="5400000" flipH="1" flipV="1">
              <a:off x="1391140" y="4411554"/>
              <a:ext cx="346707" cy="91278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" lIns="72000" rIns="72000" bIns="43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rPr>
                <a:t>03</a:t>
              </a:r>
              <a:endParaRPr kumimoji="0" lang="e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8F4C51B-3340-4877-928E-E037F7923F08}"/>
                </a:ext>
              </a:extLst>
            </p:cNvPr>
            <p:cNvSpPr/>
            <p:nvPr/>
          </p:nvSpPr>
          <p:spPr>
            <a:xfrm flipH="1">
              <a:off x="1669706" y="4329309"/>
              <a:ext cx="1077274" cy="10772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28011024-E480-44A7-BDBE-0F68BAC25D9E}"/>
                </a:ext>
              </a:extLst>
            </p:cNvPr>
            <p:cNvSpPr/>
            <p:nvPr/>
          </p:nvSpPr>
          <p:spPr>
            <a:xfrm flipH="1">
              <a:off x="1781149" y="4440751"/>
              <a:ext cx="854389" cy="85438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innerShdw blurRad="63500" dist="50800" dir="13500000">
                <a:prstClr val="black">
                  <a:alpha val="1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E1B2696F-7F97-45B2-B5FD-D10A9BFAD37C}"/>
                </a:ext>
              </a:extLst>
            </p:cNvPr>
            <p:cNvGrpSpPr/>
            <p:nvPr/>
          </p:nvGrpSpPr>
          <p:grpSpPr>
            <a:xfrm>
              <a:off x="2035306" y="4693321"/>
              <a:ext cx="346075" cy="349250"/>
              <a:chOff x="5562600" y="2890838"/>
              <a:chExt cx="346075" cy="349250"/>
            </a:xfrm>
          </p:grpSpPr>
          <p:sp>
            <p:nvSpPr>
              <p:cNvPr id="143" name="Freeform 9">
                <a:extLst>
                  <a:ext uri="{FF2B5EF4-FFF2-40B4-BE49-F238E27FC236}">
                    <a16:creationId xmlns:a16="http://schemas.microsoft.com/office/drawing/2014/main" id="{5E984609-8E57-4C6B-A5CE-FE0F08418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2890838"/>
                <a:ext cx="346075" cy="349250"/>
              </a:xfrm>
              <a:custGeom>
                <a:avLst/>
                <a:gdLst>
                  <a:gd name="T0" fmla="*/ 80 w 92"/>
                  <a:gd name="T1" fmla="*/ 0 h 92"/>
                  <a:gd name="T2" fmla="*/ 41 w 92"/>
                  <a:gd name="T3" fmla="*/ 39 h 92"/>
                  <a:gd name="T4" fmla="*/ 28 w 92"/>
                  <a:gd name="T5" fmla="*/ 36 h 92"/>
                  <a:gd name="T6" fmla="*/ 0 w 92"/>
                  <a:gd name="T7" fmla="*/ 64 h 92"/>
                  <a:gd name="T8" fmla="*/ 28 w 92"/>
                  <a:gd name="T9" fmla="*/ 92 h 92"/>
                  <a:gd name="T10" fmla="*/ 56 w 92"/>
                  <a:gd name="T11" fmla="*/ 64 h 92"/>
                  <a:gd name="T12" fmla="*/ 53 w 92"/>
                  <a:gd name="T13" fmla="*/ 51 h 92"/>
                  <a:gd name="T14" fmla="*/ 66 w 92"/>
                  <a:gd name="T15" fmla="*/ 38 h 92"/>
                  <a:gd name="T16" fmla="*/ 72 w 92"/>
                  <a:gd name="T17" fmla="*/ 38 h 92"/>
                  <a:gd name="T18" fmla="*/ 72 w 92"/>
                  <a:gd name="T19" fmla="*/ 32 h 92"/>
                  <a:gd name="T20" fmla="*/ 74 w 92"/>
                  <a:gd name="T21" fmla="*/ 30 h 92"/>
                  <a:gd name="T22" fmla="*/ 80 w 92"/>
                  <a:gd name="T23" fmla="*/ 30 h 92"/>
                  <a:gd name="T24" fmla="*/ 80 w 92"/>
                  <a:gd name="T25" fmla="*/ 24 h 92"/>
                  <a:gd name="T26" fmla="*/ 82 w 92"/>
                  <a:gd name="T27" fmla="*/ 22 h 92"/>
                  <a:gd name="T28" fmla="*/ 88 w 92"/>
                  <a:gd name="T29" fmla="*/ 22 h 92"/>
                  <a:gd name="T30" fmla="*/ 88 w 92"/>
                  <a:gd name="T31" fmla="*/ 16 h 92"/>
                  <a:gd name="T32" fmla="*/ 92 w 92"/>
                  <a:gd name="T33" fmla="*/ 12 h 92"/>
                  <a:gd name="T34" fmla="*/ 92 w 92"/>
                  <a:gd name="T35" fmla="*/ 0 h 92"/>
                  <a:gd name="T36" fmla="*/ 80 w 92"/>
                  <a:gd name="T3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" h="92">
                    <a:moveTo>
                      <a:pt x="80" y="0"/>
                    </a:moveTo>
                    <a:cubicBezTo>
                      <a:pt x="41" y="39"/>
                      <a:pt x="41" y="39"/>
                      <a:pt x="41" y="39"/>
                    </a:cubicBezTo>
                    <a:cubicBezTo>
                      <a:pt x="37" y="37"/>
                      <a:pt x="33" y="36"/>
                      <a:pt x="28" y="36"/>
                    </a:cubicBezTo>
                    <a:cubicBezTo>
                      <a:pt x="13" y="36"/>
                      <a:pt x="0" y="49"/>
                      <a:pt x="0" y="64"/>
                    </a:cubicBezTo>
                    <a:cubicBezTo>
                      <a:pt x="0" y="79"/>
                      <a:pt x="13" y="92"/>
                      <a:pt x="28" y="92"/>
                    </a:cubicBezTo>
                    <a:cubicBezTo>
                      <a:pt x="43" y="92"/>
                      <a:pt x="56" y="79"/>
                      <a:pt x="56" y="64"/>
                    </a:cubicBezTo>
                    <a:cubicBezTo>
                      <a:pt x="56" y="59"/>
                      <a:pt x="55" y="55"/>
                      <a:pt x="53" y="51"/>
                    </a:cubicBezTo>
                    <a:cubicBezTo>
                      <a:pt x="66" y="38"/>
                      <a:pt x="66" y="38"/>
                      <a:pt x="66" y="38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2"/>
                      <a:pt x="72" y="32"/>
                      <a:pt x="72" y="32"/>
                    </a:cubicBezTo>
                    <a:cubicBezTo>
                      <a:pt x="74" y="30"/>
                      <a:pt x="74" y="30"/>
                      <a:pt x="74" y="30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24"/>
                      <a:pt x="80" y="24"/>
                      <a:pt x="80" y="24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8" y="22"/>
                      <a:pt x="88" y="22"/>
                      <a:pt x="88" y="22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80" y="0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9C62C403-F4C0-4CF5-B41A-A22709FB78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4988" y="3140075"/>
                <a:ext cx="46038" cy="46038"/>
              </a:xfrm>
              <a:prstGeom prst="ellipse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6221978" y="2033705"/>
            <a:ext cx="4889346" cy="1077274"/>
            <a:chOff x="6221978" y="2033705"/>
            <a:chExt cx="4889346" cy="1077274"/>
          </a:xfrm>
        </p:grpSpPr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1C0780F9-297A-493F-804A-74A046EF4F37}"/>
                </a:ext>
              </a:extLst>
            </p:cNvPr>
            <p:cNvSpPr/>
            <p:nvPr/>
          </p:nvSpPr>
          <p:spPr>
            <a:xfrm>
              <a:off x="8027504" y="2171433"/>
              <a:ext cx="2663348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OTAL NUMBER OF CUSTOMERS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0584D318-0EA5-4F9C-BA65-BF10786F6374}"/>
                </a:ext>
              </a:extLst>
            </p:cNvPr>
            <p:cNvSpPr/>
            <p:nvPr/>
          </p:nvSpPr>
          <p:spPr>
            <a:xfrm>
              <a:off x="8027504" y="2465421"/>
              <a:ext cx="3083820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599</a:t>
              </a:r>
            </a:p>
          </p:txBody>
        </p:sp>
        <p:sp>
          <p:nvSpPr>
            <p:cNvPr id="190" name="Rectangle: Top Corners Rounded 189">
              <a:extLst>
                <a:ext uri="{FF2B5EF4-FFF2-40B4-BE49-F238E27FC236}">
                  <a16:creationId xmlns:a16="http://schemas.microsoft.com/office/drawing/2014/main" id="{4808A09C-A309-4C70-9FDB-BEC2092F7A50}"/>
                </a:ext>
              </a:extLst>
            </p:cNvPr>
            <p:cNvSpPr/>
            <p:nvPr/>
          </p:nvSpPr>
          <p:spPr>
            <a:xfrm rot="5400000" flipH="1" flipV="1">
              <a:off x="6505015" y="2115950"/>
              <a:ext cx="346707" cy="91278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" lIns="72000" rIns="72000" bIns="43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rPr>
                <a:t>04</a:t>
              </a:r>
              <a:endParaRPr kumimoji="0" lang="en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9E8AF282-1BA8-4A82-8E9E-FC6800E010AE}"/>
                </a:ext>
              </a:extLst>
            </p:cNvPr>
            <p:cNvSpPr/>
            <p:nvPr/>
          </p:nvSpPr>
          <p:spPr>
            <a:xfrm flipH="1">
              <a:off x="6783581" y="2033705"/>
              <a:ext cx="1077274" cy="10772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C52FC72B-7CB1-48B5-B84B-98532CEE63A8}"/>
                </a:ext>
              </a:extLst>
            </p:cNvPr>
            <p:cNvSpPr/>
            <p:nvPr/>
          </p:nvSpPr>
          <p:spPr>
            <a:xfrm flipH="1">
              <a:off x="6895024" y="2145147"/>
              <a:ext cx="854389" cy="85438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innerShdw blurRad="63500" dist="50800" dir="13500000">
                <a:prstClr val="black">
                  <a:alpha val="1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EEF02FA-C867-4875-A4EA-2B39649A90ED}"/>
                </a:ext>
              </a:extLst>
            </p:cNvPr>
            <p:cNvGrpSpPr/>
            <p:nvPr/>
          </p:nvGrpSpPr>
          <p:grpSpPr>
            <a:xfrm>
              <a:off x="7043052" y="2367344"/>
              <a:ext cx="558332" cy="409997"/>
              <a:chOff x="-1377950" y="5740400"/>
              <a:chExt cx="2455863" cy="1803401"/>
            </a:xfrm>
            <a:solidFill>
              <a:schemeClr val="bg1"/>
            </a:solidFill>
          </p:grpSpPr>
          <p:sp>
            <p:nvSpPr>
              <p:cNvPr id="115" name="Freeform 5">
                <a:extLst>
                  <a:ext uri="{FF2B5EF4-FFF2-40B4-BE49-F238E27FC236}">
                    <a16:creationId xmlns:a16="http://schemas.microsoft.com/office/drawing/2014/main" id="{402341C2-9165-42CE-9BBA-AB0BCB3DE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413" y="6510338"/>
                <a:ext cx="307975" cy="109538"/>
              </a:xfrm>
              <a:custGeom>
                <a:avLst/>
                <a:gdLst>
                  <a:gd name="T0" fmla="*/ 209 w 257"/>
                  <a:gd name="T1" fmla="*/ 89 h 92"/>
                  <a:gd name="T2" fmla="*/ 222 w 257"/>
                  <a:gd name="T3" fmla="*/ 92 h 92"/>
                  <a:gd name="T4" fmla="*/ 249 w 257"/>
                  <a:gd name="T5" fmla="*/ 75 h 92"/>
                  <a:gd name="T6" fmla="*/ 236 w 257"/>
                  <a:gd name="T7" fmla="*/ 35 h 92"/>
                  <a:gd name="T8" fmla="*/ 30 w 257"/>
                  <a:gd name="T9" fmla="*/ 0 h 92"/>
                  <a:gd name="T10" fmla="*/ 0 w 257"/>
                  <a:gd name="T11" fmla="*/ 30 h 92"/>
                  <a:gd name="T12" fmla="*/ 30 w 257"/>
                  <a:gd name="T13" fmla="*/ 60 h 92"/>
                  <a:gd name="T14" fmla="*/ 209 w 257"/>
                  <a:gd name="T15" fmla="*/ 8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7" h="92">
                    <a:moveTo>
                      <a:pt x="209" y="89"/>
                    </a:moveTo>
                    <a:cubicBezTo>
                      <a:pt x="213" y="91"/>
                      <a:pt x="218" y="92"/>
                      <a:pt x="222" y="92"/>
                    </a:cubicBezTo>
                    <a:cubicBezTo>
                      <a:pt x="233" y="92"/>
                      <a:pt x="244" y="86"/>
                      <a:pt x="249" y="75"/>
                    </a:cubicBezTo>
                    <a:cubicBezTo>
                      <a:pt x="257" y="60"/>
                      <a:pt x="251" y="42"/>
                      <a:pt x="236" y="35"/>
                    </a:cubicBezTo>
                    <a:cubicBezTo>
                      <a:pt x="166" y="0"/>
                      <a:pt x="3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  <a:cubicBezTo>
                      <a:pt x="0" y="46"/>
                      <a:pt x="13" y="60"/>
                      <a:pt x="30" y="60"/>
                    </a:cubicBezTo>
                    <a:cubicBezTo>
                      <a:pt x="64" y="60"/>
                      <a:pt x="162" y="65"/>
                      <a:pt x="209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6" name="Freeform 6">
                <a:extLst>
                  <a:ext uri="{FF2B5EF4-FFF2-40B4-BE49-F238E27FC236}">
                    <a16:creationId xmlns:a16="http://schemas.microsoft.com/office/drawing/2014/main" id="{C84945A1-1012-4BB0-9A19-64460D698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77950" y="5740400"/>
                <a:ext cx="2455863" cy="1803401"/>
              </a:xfrm>
              <a:custGeom>
                <a:avLst/>
                <a:gdLst>
                  <a:gd name="T0" fmla="*/ 1823 w 2048"/>
                  <a:gd name="T1" fmla="*/ 1015 h 1504"/>
                  <a:gd name="T2" fmla="*/ 1932 w 2048"/>
                  <a:gd name="T3" fmla="*/ 751 h 1504"/>
                  <a:gd name="T4" fmla="*/ 1633 w 2048"/>
                  <a:gd name="T5" fmla="*/ 481 h 1504"/>
                  <a:gd name="T6" fmla="*/ 1475 w 2048"/>
                  <a:gd name="T7" fmla="*/ 775 h 1504"/>
                  <a:gd name="T8" fmla="*/ 1546 w 2048"/>
                  <a:gd name="T9" fmla="*/ 1073 h 1504"/>
                  <a:gd name="T10" fmla="*/ 1247 w 2048"/>
                  <a:gd name="T11" fmla="*/ 945 h 1504"/>
                  <a:gd name="T12" fmla="*/ 1375 w 2048"/>
                  <a:gd name="T13" fmla="*/ 497 h 1504"/>
                  <a:gd name="T14" fmla="*/ 928 w 2048"/>
                  <a:gd name="T15" fmla="*/ 0 h 1504"/>
                  <a:gd name="T16" fmla="*/ 674 w 2048"/>
                  <a:gd name="T17" fmla="*/ 565 h 1504"/>
                  <a:gd name="T18" fmla="*/ 738 w 2048"/>
                  <a:gd name="T19" fmla="*/ 1027 h 1504"/>
                  <a:gd name="T20" fmla="*/ 602 w 2048"/>
                  <a:gd name="T21" fmla="*/ 1006 h 1504"/>
                  <a:gd name="T22" fmla="*/ 319 w 2048"/>
                  <a:gd name="T23" fmla="*/ 481 h 1504"/>
                  <a:gd name="T24" fmla="*/ 35 w 2048"/>
                  <a:gd name="T25" fmla="*/ 1006 h 1504"/>
                  <a:gd name="T26" fmla="*/ 0 w 2048"/>
                  <a:gd name="T27" fmla="*/ 1474 h 1504"/>
                  <a:gd name="T28" fmla="*/ 97 w 2048"/>
                  <a:gd name="T29" fmla="*/ 1193 h 1504"/>
                  <a:gd name="T30" fmla="*/ 406 w 2048"/>
                  <a:gd name="T31" fmla="*/ 1176 h 1504"/>
                  <a:gd name="T32" fmla="*/ 449 w 2048"/>
                  <a:gd name="T33" fmla="*/ 1474 h 1504"/>
                  <a:gd name="T34" fmla="*/ 574 w 2048"/>
                  <a:gd name="T35" fmla="*/ 1150 h 1504"/>
                  <a:gd name="T36" fmla="*/ 901 w 2048"/>
                  <a:gd name="T37" fmla="*/ 1229 h 1504"/>
                  <a:gd name="T38" fmla="*/ 1024 w 2048"/>
                  <a:gd name="T39" fmla="*/ 1504 h 1504"/>
                  <a:gd name="T40" fmla="*/ 1148 w 2048"/>
                  <a:gd name="T41" fmla="*/ 1229 h 1504"/>
                  <a:gd name="T42" fmla="*/ 1475 w 2048"/>
                  <a:gd name="T43" fmla="*/ 1150 h 1504"/>
                  <a:gd name="T44" fmla="*/ 1600 w 2048"/>
                  <a:gd name="T45" fmla="*/ 1474 h 1504"/>
                  <a:gd name="T46" fmla="*/ 1591 w 2048"/>
                  <a:gd name="T47" fmla="*/ 1121 h 1504"/>
                  <a:gd name="T48" fmla="*/ 1727 w 2048"/>
                  <a:gd name="T49" fmla="*/ 1474 h 1504"/>
                  <a:gd name="T50" fmla="*/ 1940 w 2048"/>
                  <a:gd name="T51" fmla="*/ 1162 h 1504"/>
                  <a:gd name="T52" fmla="*/ 2048 w 2048"/>
                  <a:gd name="T53" fmla="*/ 1474 h 1504"/>
                  <a:gd name="T54" fmla="*/ 445 w 2048"/>
                  <a:gd name="T55" fmla="*/ 1016 h 1504"/>
                  <a:gd name="T56" fmla="*/ 124 w 2048"/>
                  <a:gd name="T57" fmla="*/ 738 h 1504"/>
                  <a:gd name="T58" fmla="*/ 513 w 2048"/>
                  <a:gd name="T59" fmla="*/ 738 h 1504"/>
                  <a:gd name="T60" fmla="*/ 254 w 2048"/>
                  <a:gd name="T61" fmla="*/ 674 h 1504"/>
                  <a:gd name="T62" fmla="*/ 222 w 2048"/>
                  <a:gd name="T63" fmla="*/ 781 h 1504"/>
                  <a:gd name="T64" fmla="*/ 156 w 2048"/>
                  <a:gd name="T65" fmla="*/ 832 h 1504"/>
                  <a:gd name="T66" fmla="*/ 124 w 2048"/>
                  <a:gd name="T67" fmla="*/ 738 h 1504"/>
                  <a:gd name="T68" fmla="*/ 192 w 2048"/>
                  <a:gd name="T69" fmla="*/ 1051 h 1504"/>
                  <a:gd name="T70" fmla="*/ 252 w 2048"/>
                  <a:gd name="T71" fmla="*/ 1077 h 1504"/>
                  <a:gd name="T72" fmla="*/ 385 w 2048"/>
                  <a:gd name="T73" fmla="*/ 1077 h 1504"/>
                  <a:gd name="T74" fmla="*/ 734 w 2048"/>
                  <a:gd name="T75" fmla="*/ 565 h 1504"/>
                  <a:gd name="T76" fmla="*/ 702 w 2048"/>
                  <a:gd name="T77" fmla="*/ 287 h 1504"/>
                  <a:gd name="T78" fmla="*/ 1318 w 2048"/>
                  <a:gd name="T79" fmla="*/ 477 h 1504"/>
                  <a:gd name="T80" fmla="*/ 1200 w 2048"/>
                  <a:gd name="T81" fmla="*/ 807 h 1504"/>
                  <a:gd name="T82" fmla="*/ 1001 w 2048"/>
                  <a:gd name="T83" fmla="*/ 926 h 1504"/>
                  <a:gd name="T84" fmla="*/ 1024 w 2048"/>
                  <a:gd name="T85" fmla="*/ 1052 h 1504"/>
                  <a:gd name="T86" fmla="*/ 903 w 2048"/>
                  <a:gd name="T87" fmla="*/ 1168 h 1504"/>
                  <a:gd name="T88" fmla="*/ 836 w 2048"/>
                  <a:gd name="T89" fmla="*/ 996 h 1504"/>
                  <a:gd name="T90" fmla="*/ 1148 w 2048"/>
                  <a:gd name="T91" fmla="*/ 1169 h 1504"/>
                  <a:gd name="T92" fmla="*/ 1243 w 2048"/>
                  <a:gd name="T93" fmla="*/ 1028 h 1504"/>
                  <a:gd name="T94" fmla="*/ 1532 w 2048"/>
                  <a:gd name="T95" fmla="*/ 755 h 1504"/>
                  <a:gd name="T96" fmla="*/ 1633 w 2048"/>
                  <a:gd name="T97" fmla="*/ 541 h 1504"/>
                  <a:gd name="T98" fmla="*/ 1863 w 2048"/>
                  <a:gd name="T99" fmla="*/ 755 h 1504"/>
                  <a:gd name="T100" fmla="*/ 1692 w 2048"/>
                  <a:gd name="T101" fmla="*/ 995 h 1504"/>
                  <a:gd name="T102" fmla="*/ 1763 w 2048"/>
                  <a:gd name="T103" fmla="*/ 1045 h 1504"/>
                  <a:gd name="T104" fmla="*/ 1629 w 2048"/>
                  <a:gd name="T105" fmla="*/ 1075 h 1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8" h="1504">
                    <a:moveTo>
                      <a:pt x="1956" y="1104"/>
                    </a:moveTo>
                    <a:cubicBezTo>
                      <a:pt x="1833" y="1069"/>
                      <a:pt x="1833" y="1069"/>
                      <a:pt x="1833" y="1069"/>
                    </a:cubicBezTo>
                    <a:cubicBezTo>
                      <a:pt x="1827" y="1067"/>
                      <a:pt x="1823" y="1062"/>
                      <a:pt x="1823" y="1057"/>
                    </a:cubicBezTo>
                    <a:cubicBezTo>
                      <a:pt x="1823" y="1015"/>
                      <a:pt x="1823" y="1015"/>
                      <a:pt x="1823" y="1015"/>
                    </a:cubicBezTo>
                    <a:cubicBezTo>
                      <a:pt x="1834" y="1008"/>
                      <a:pt x="1843" y="1001"/>
                      <a:pt x="1852" y="992"/>
                    </a:cubicBezTo>
                    <a:cubicBezTo>
                      <a:pt x="1896" y="950"/>
                      <a:pt x="1920" y="893"/>
                      <a:pt x="1920" y="832"/>
                    </a:cubicBezTo>
                    <a:cubicBezTo>
                      <a:pt x="1920" y="775"/>
                      <a:pt x="1920" y="775"/>
                      <a:pt x="1920" y="775"/>
                    </a:cubicBezTo>
                    <a:cubicBezTo>
                      <a:pt x="1932" y="751"/>
                      <a:pt x="1932" y="751"/>
                      <a:pt x="1932" y="751"/>
                    </a:cubicBezTo>
                    <a:cubicBezTo>
                      <a:pt x="1945" y="725"/>
                      <a:pt x="1952" y="695"/>
                      <a:pt x="1952" y="666"/>
                    </a:cubicBezTo>
                    <a:cubicBezTo>
                      <a:pt x="1952" y="511"/>
                      <a:pt x="1952" y="511"/>
                      <a:pt x="1952" y="511"/>
                    </a:cubicBezTo>
                    <a:cubicBezTo>
                      <a:pt x="1952" y="495"/>
                      <a:pt x="1938" y="481"/>
                      <a:pt x="1922" y="481"/>
                    </a:cubicBezTo>
                    <a:cubicBezTo>
                      <a:pt x="1633" y="481"/>
                      <a:pt x="1633" y="481"/>
                      <a:pt x="1633" y="481"/>
                    </a:cubicBezTo>
                    <a:cubicBezTo>
                      <a:pt x="1528" y="481"/>
                      <a:pt x="1443" y="567"/>
                      <a:pt x="1443" y="672"/>
                    </a:cubicBezTo>
                    <a:cubicBezTo>
                      <a:pt x="1443" y="674"/>
                      <a:pt x="1443" y="674"/>
                      <a:pt x="1443" y="674"/>
                    </a:cubicBezTo>
                    <a:cubicBezTo>
                      <a:pt x="1443" y="698"/>
                      <a:pt x="1448" y="723"/>
                      <a:pt x="1459" y="744"/>
                    </a:cubicBezTo>
                    <a:cubicBezTo>
                      <a:pt x="1475" y="775"/>
                      <a:pt x="1475" y="775"/>
                      <a:pt x="1475" y="775"/>
                    </a:cubicBezTo>
                    <a:cubicBezTo>
                      <a:pt x="1475" y="824"/>
                      <a:pt x="1475" y="824"/>
                      <a:pt x="1475" y="824"/>
                    </a:cubicBezTo>
                    <a:cubicBezTo>
                      <a:pt x="1475" y="902"/>
                      <a:pt x="1513" y="971"/>
                      <a:pt x="1571" y="1013"/>
                    </a:cubicBezTo>
                    <a:cubicBezTo>
                      <a:pt x="1571" y="1057"/>
                      <a:pt x="1571" y="1057"/>
                      <a:pt x="1571" y="1057"/>
                    </a:cubicBezTo>
                    <a:cubicBezTo>
                      <a:pt x="1571" y="1063"/>
                      <a:pt x="1571" y="1066"/>
                      <a:pt x="1546" y="1073"/>
                    </a:cubicBezTo>
                    <a:cubicBezTo>
                      <a:pt x="1486" y="1091"/>
                      <a:pt x="1486" y="1091"/>
                      <a:pt x="1486" y="1091"/>
                    </a:cubicBezTo>
                    <a:cubicBezTo>
                      <a:pt x="1311" y="1027"/>
                      <a:pt x="1311" y="1027"/>
                      <a:pt x="1311" y="1027"/>
                    </a:cubicBezTo>
                    <a:cubicBezTo>
                      <a:pt x="1312" y="1019"/>
                      <a:pt x="1309" y="1010"/>
                      <a:pt x="1303" y="1004"/>
                    </a:cubicBezTo>
                    <a:cubicBezTo>
                      <a:pt x="1247" y="945"/>
                      <a:pt x="1247" y="945"/>
                      <a:pt x="1247" y="945"/>
                    </a:cubicBezTo>
                    <a:cubicBezTo>
                      <a:pt x="1247" y="847"/>
                      <a:pt x="1247" y="847"/>
                      <a:pt x="1247" y="847"/>
                    </a:cubicBezTo>
                    <a:cubicBezTo>
                      <a:pt x="1253" y="842"/>
                      <a:pt x="1259" y="837"/>
                      <a:pt x="1264" y="832"/>
                    </a:cubicBezTo>
                    <a:cubicBezTo>
                      <a:pt x="1335" y="765"/>
                      <a:pt x="1375" y="672"/>
                      <a:pt x="1375" y="576"/>
                    </a:cubicBezTo>
                    <a:cubicBezTo>
                      <a:pt x="1375" y="497"/>
                      <a:pt x="1375" y="497"/>
                      <a:pt x="1375" y="497"/>
                    </a:cubicBezTo>
                    <a:cubicBezTo>
                      <a:pt x="1396" y="451"/>
                      <a:pt x="1407" y="402"/>
                      <a:pt x="1407" y="351"/>
                    </a:cubicBezTo>
                    <a:cubicBezTo>
                      <a:pt x="1407" y="30"/>
                      <a:pt x="1407" y="30"/>
                      <a:pt x="1407" y="30"/>
                    </a:cubicBezTo>
                    <a:cubicBezTo>
                      <a:pt x="1407" y="14"/>
                      <a:pt x="1394" y="0"/>
                      <a:pt x="1377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770" y="0"/>
                      <a:pt x="642" y="129"/>
                      <a:pt x="642" y="287"/>
                    </a:cubicBezTo>
                    <a:cubicBezTo>
                      <a:pt x="642" y="351"/>
                      <a:pt x="642" y="351"/>
                      <a:pt x="642" y="351"/>
                    </a:cubicBezTo>
                    <a:cubicBezTo>
                      <a:pt x="642" y="402"/>
                      <a:pt x="652" y="451"/>
                      <a:pt x="674" y="497"/>
                    </a:cubicBezTo>
                    <a:cubicBezTo>
                      <a:pt x="674" y="565"/>
                      <a:pt x="674" y="565"/>
                      <a:pt x="674" y="565"/>
                    </a:cubicBezTo>
                    <a:cubicBezTo>
                      <a:pt x="674" y="677"/>
                      <a:pt x="723" y="778"/>
                      <a:pt x="802" y="844"/>
                    </a:cubicBezTo>
                    <a:cubicBezTo>
                      <a:pt x="802" y="945"/>
                      <a:pt x="802" y="945"/>
                      <a:pt x="802" y="945"/>
                    </a:cubicBezTo>
                    <a:cubicBezTo>
                      <a:pt x="746" y="1004"/>
                      <a:pt x="746" y="1004"/>
                      <a:pt x="746" y="1004"/>
                    </a:cubicBezTo>
                    <a:cubicBezTo>
                      <a:pt x="740" y="1010"/>
                      <a:pt x="737" y="1019"/>
                      <a:pt x="738" y="1027"/>
                    </a:cubicBezTo>
                    <a:cubicBezTo>
                      <a:pt x="553" y="1094"/>
                      <a:pt x="553" y="1094"/>
                      <a:pt x="553" y="1094"/>
                    </a:cubicBezTo>
                    <a:cubicBezTo>
                      <a:pt x="540" y="1099"/>
                      <a:pt x="527" y="1106"/>
                      <a:pt x="516" y="1113"/>
                    </a:cubicBezTo>
                    <a:cubicBezTo>
                      <a:pt x="487" y="1099"/>
                      <a:pt x="487" y="1099"/>
                      <a:pt x="487" y="1099"/>
                    </a:cubicBezTo>
                    <a:cubicBezTo>
                      <a:pt x="573" y="1061"/>
                      <a:pt x="601" y="1009"/>
                      <a:pt x="602" y="1006"/>
                    </a:cubicBezTo>
                    <a:cubicBezTo>
                      <a:pt x="606" y="998"/>
                      <a:pt x="606" y="988"/>
                      <a:pt x="602" y="979"/>
                    </a:cubicBezTo>
                    <a:cubicBezTo>
                      <a:pt x="581" y="936"/>
                      <a:pt x="578" y="857"/>
                      <a:pt x="576" y="793"/>
                    </a:cubicBezTo>
                    <a:cubicBezTo>
                      <a:pt x="575" y="772"/>
                      <a:pt x="574" y="752"/>
                      <a:pt x="573" y="734"/>
                    </a:cubicBezTo>
                    <a:cubicBezTo>
                      <a:pt x="563" y="590"/>
                      <a:pt x="454" y="481"/>
                      <a:pt x="319" y="481"/>
                    </a:cubicBezTo>
                    <a:cubicBezTo>
                      <a:pt x="184" y="481"/>
                      <a:pt x="74" y="590"/>
                      <a:pt x="64" y="734"/>
                    </a:cubicBezTo>
                    <a:cubicBezTo>
                      <a:pt x="63" y="752"/>
                      <a:pt x="62" y="772"/>
                      <a:pt x="62" y="793"/>
                    </a:cubicBezTo>
                    <a:cubicBezTo>
                      <a:pt x="59" y="857"/>
                      <a:pt x="57" y="936"/>
                      <a:pt x="35" y="979"/>
                    </a:cubicBezTo>
                    <a:cubicBezTo>
                      <a:pt x="31" y="988"/>
                      <a:pt x="31" y="998"/>
                      <a:pt x="35" y="1006"/>
                    </a:cubicBezTo>
                    <a:cubicBezTo>
                      <a:pt x="37" y="1009"/>
                      <a:pt x="64" y="1061"/>
                      <a:pt x="150" y="1099"/>
                    </a:cubicBezTo>
                    <a:cubicBezTo>
                      <a:pt x="70" y="1139"/>
                      <a:pt x="70" y="1139"/>
                      <a:pt x="70" y="1139"/>
                    </a:cubicBezTo>
                    <a:cubicBezTo>
                      <a:pt x="27" y="1161"/>
                      <a:pt x="0" y="1204"/>
                      <a:pt x="0" y="1252"/>
                    </a:cubicBezTo>
                    <a:cubicBezTo>
                      <a:pt x="0" y="1474"/>
                      <a:pt x="0" y="1474"/>
                      <a:pt x="0" y="1474"/>
                    </a:cubicBezTo>
                    <a:cubicBezTo>
                      <a:pt x="0" y="1490"/>
                      <a:pt x="13" y="1504"/>
                      <a:pt x="30" y="1504"/>
                    </a:cubicBezTo>
                    <a:cubicBezTo>
                      <a:pt x="47" y="1504"/>
                      <a:pt x="60" y="1490"/>
                      <a:pt x="60" y="1474"/>
                    </a:cubicBezTo>
                    <a:cubicBezTo>
                      <a:pt x="60" y="1252"/>
                      <a:pt x="60" y="1252"/>
                      <a:pt x="60" y="1252"/>
                    </a:cubicBezTo>
                    <a:cubicBezTo>
                      <a:pt x="60" y="1227"/>
                      <a:pt x="74" y="1204"/>
                      <a:pt x="97" y="1193"/>
                    </a:cubicBezTo>
                    <a:cubicBezTo>
                      <a:pt x="197" y="1143"/>
                      <a:pt x="197" y="1143"/>
                      <a:pt x="197" y="1143"/>
                    </a:cubicBezTo>
                    <a:cubicBezTo>
                      <a:pt x="232" y="1176"/>
                      <a:pt x="232" y="1176"/>
                      <a:pt x="232" y="1176"/>
                    </a:cubicBezTo>
                    <a:cubicBezTo>
                      <a:pt x="256" y="1199"/>
                      <a:pt x="287" y="1211"/>
                      <a:pt x="319" y="1211"/>
                    </a:cubicBezTo>
                    <a:cubicBezTo>
                      <a:pt x="350" y="1211"/>
                      <a:pt x="381" y="1199"/>
                      <a:pt x="406" y="1176"/>
                    </a:cubicBezTo>
                    <a:cubicBezTo>
                      <a:pt x="441" y="1143"/>
                      <a:pt x="441" y="1143"/>
                      <a:pt x="441" y="1143"/>
                    </a:cubicBezTo>
                    <a:cubicBezTo>
                      <a:pt x="473" y="1159"/>
                      <a:pt x="473" y="1159"/>
                      <a:pt x="473" y="1159"/>
                    </a:cubicBezTo>
                    <a:cubicBezTo>
                      <a:pt x="458" y="1184"/>
                      <a:pt x="449" y="1213"/>
                      <a:pt x="449" y="1243"/>
                    </a:cubicBezTo>
                    <a:cubicBezTo>
                      <a:pt x="449" y="1474"/>
                      <a:pt x="449" y="1474"/>
                      <a:pt x="449" y="1474"/>
                    </a:cubicBezTo>
                    <a:cubicBezTo>
                      <a:pt x="449" y="1490"/>
                      <a:pt x="463" y="1504"/>
                      <a:pt x="479" y="1504"/>
                    </a:cubicBezTo>
                    <a:cubicBezTo>
                      <a:pt x="496" y="1504"/>
                      <a:pt x="509" y="1490"/>
                      <a:pt x="509" y="1474"/>
                    </a:cubicBezTo>
                    <a:cubicBezTo>
                      <a:pt x="509" y="1243"/>
                      <a:pt x="509" y="1243"/>
                      <a:pt x="509" y="1243"/>
                    </a:cubicBezTo>
                    <a:cubicBezTo>
                      <a:pt x="509" y="1202"/>
                      <a:pt x="535" y="1165"/>
                      <a:pt x="574" y="1150"/>
                    </a:cubicBezTo>
                    <a:cubicBezTo>
                      <a:pt x="768" y="1080"/>
                      <a:pt x="768" y="1080"/>
                      <a:pt x="768" y="1080"/>
                    </a:cubicBezTo>
                    <a:cubicBezTo>
                      <a:pt x="849" y="1201"/>
                      <a:pt x="849" y="1201"/>
                      <a:pt x="849" y="1201"/>
                    </a:cubicBezTo>
                    <a:cubicBezTo>
                      <a:pt x="860" y="1217"/>
                      <a:pt x="876" y="1227"/>
                      <a:pt x="895" y="1229"/>
                    </a:cubicBezTo>
                    <a:cubicBezTo>
                      <a:pt x="897" y="1229"/>
                      <a:pt x="899" y="1229"/>
                      <a:pt x="901" y="1229"/>
                    </a:cubicBezTo>
                    <a:cubicBezTo>
                      <a:pt x="918" y="1229"/>
                      <a:pt x="933" y="1222"/>
                      <a:pt x="945" y="1211"/>
                    </a:cubicBezTo>
                    <a:cubicBezTo>
                      <a:pt x="994" y="1161"/>
                      <a:pt x="994" y="1161"/>
                      <a:pt x="994" y="1161"/>
                    </a:cubicBezTo>
                    <a:cubicBezTo>
                      <a:pt x="994" y="1474"/>
                      <a:pt x="994" y="1474"/>
                      <a:pt x="994" y="1474"/>
                    </a:cubicBezTo>
                    <a:cubicBezTo>
                      <a:pt x="994" y="1490"/>
                      <a:pt x="1008" y="1504"/>
                      <a:pt x="1024" y="1504"/>
                    </a:cubicBezTo>
                    <a:cubicBezTo>
                      <a:pt x="1041" y="1504"/>
                      <a:pt x="1054" y="1490"/>
                      <a:pt x="1054" y="1474"/>
                    </a:cubicBezTo>
                    <a:cubicBezTo>
                      <a:pt x="1054" y="1161"/>
                      <a:pt x="1054" y="1161"/>
                      <a:pt x="1054" y="1161"/>
                    </a:cubicBezTo>
                    <a:cubicBezTo>
                      <a:pt x="1104" y="1211"/>
                      <a:pt x="1104" y="1211"/>
                      <a:pt x="1104" y="1211"/>
                    </a:cubicBezTo>
                    <a:cubicBezTo>
                      <a:pt x="1116" y="1222"/>
                      <a:pt x="1131" y="1229"/>
                      <a:pt x="1148" y="1229"/>
                    </a:cubicBezTo>
                    <a:cubicBezTo>
                      <a:pt x="1150" y="1229"/>
                      <a:pt x="1152" y="1229"/>
                      <a:pt x="1154" y="1229"/>
                    </a:cubicBezTo>
                    <a:cubicBezTo>
                      <a:pt x="1172" y="1227"/>
                      <a:pt x="1189" y="1217"/>
                      <a:pt x="1199" y="1201"/>
                    </a:cubicBezTo>
                    <a:cubicBezTo>
                      <a:pt x="1280" y="1080"/>
                      <a:pt x="1280" y="1080"/>
                      <a:pt x="1280" y="1080"/>
                    </a:cubicBezTo>
                    <a:cubicBezTo>
                      <a:pt x="1475" y="1150"/>
                      <a:pt x="1475" y="1150"/>
                      <a:pt x="1475" y="1150"/>
                    </a:cubicBezTo>
                    <a:cubicBezTo>
                      <a:pt x="1514" y="1165"/>
                      <a:pt x="1540" y="1202"/>
                      <a:pt x="1540" y="1243"/>
                    </a:cubicBezTo>
                    <a:cubicBezTo>
                      <a:pt x="1540" y="1474"/>
                      <a:pt x="1540" y="1474"/>
                      <a:pt x="1540" y="1474"/>
                    </a:cubicBezTo>
                    <a:cubicBezTo>
                      <a:pt x="1540" y="1490"/>
                      <a:pt x="1553" y="1504"/>
                      <a:pt x="1570" y="1504"/>
                    </a:cubicBezTo>
                    <a:cubicBezTo>
                      <a:pt x="1586" y="1504"/>
                      <a:pt x="1600" y="1490"/>
                      <a:pt x="1600" y="1474"/>
                    </a:cubicBezTo>
                    <a:cubicBezTo>
                      <a:pt x="1600" y="1243"/>
                      <a:pt x="1600" y="1243"/>
                      <a:pt x="1600" y="1243"/>
                    </a:cubicBezTo>
                    <a:cubicBezTo>
                      <a:pt x="1600" y="1201"/>
                      <a:pt x="1583" y="1162"/>
                      <a:pt x="1555" y="1133"/>
                    </a:cubicBezTo>
                    <a:cubicBezTo>
                      <a:pt x="1563" y="1131"/>
                      <a:pt x="1563" y="1131"/>
                      <a:pt x="1563" y="1131"/>
                    </a:cubicBezTo>
                    <a:cubicBezTo>
                      <a:pt x="1570" y="1129"/>
                      <a:pt x="1580" y="1126"/>
                      <a:pt x="1591" y="1121"/>
                    </a:cubicBezTo>
                    <a:cubicBezTo>
                      <a:pt x="1667" y="1197"/>
                      <a:pt x="1667" y="1197"/>
                      <a:pt x="1667" y="1197"/>
                    </a:cubicBezTo>
                    <a:cubicBezTo>
                      <a:pt x="1667" y="1474"/>
                      <a:pt x="1667" y="1474"/>
                      <a:pt x="1667" y="1474"/>
                    </a:cubicBezTo>
                    <a:cubicBezTo>
                      <a:pt x="1667" y="1490"/>
                      <a:pt x="1681" y="1504"/>
                      <a:pt x="1697" y="1504"/>
                    </a:cubicBezTo>
                    <a:cubicBezTo>
                      <a:pt x="1714" y="1504"/>
                      <a:pt x="1727" y="1490"/>
                      <a:pt x="1727" y="1474"/>
                    </a:cubicBezTo>
                    <a:cubicBezTo>
                      <a:pt x="1727" y="1197"/>
                      <a:pt x="1727" y="1197"/>
                      <a:pt x="1727" y="1197"/>
                    </a:cubicBezTo>
                    <a:cubicBezTo>
                      <a:pt x="1803" y="1121"/>
                      <a:pt x="1803" y="1121"/>
                      <a:pt x="1803" y="1121"/>
                    </a:cubicBezTo>
                    <a:cubicBezTo>
                      <a:pt x="1807" y="1123"/>
                      <a:pt x="1812" y="1125"/>
                      <a:pt x="1816" y="1126"/>
                    </a:cubicBezTo>
                    <a:cubicBezTo>
                      <a:pt x="1940" y="1162"/>
                      <a:pt x="1940" y="1162"/>
                      <a:pt x="1940" y="1162"/>
                    </a:cubicBezTo>
                    <a:cubicBezTo>
                      <a:pt x="1968" y="1170"/>
                      <a:pt x="1988" y="1196"/>
                      <a:pt x="1988" y="1226"/>
                    </a:cubicBezTo>
                    <a:cubicBezTo>
                      <a:pt x="1988" y="1474"/>
                      <a:pt x="1988" y="1474"/>
                      <a:pt x="1988" y="1474"/>
                    </a:cubicBezTo>
                    <a:cubicBezTo>
                      <a:pt x="1988" y="1490"/>
                      <a:pt x="2001" y="1504"/>
                      <a:pt x="2018" y="1504"/>
                    </a:cubicBezTo>
                    <a:cubicBezTo>
                      <a:pt x="2035" y="1504"/>
                      <a:pt x="2048" y="1490"/>
                      <a:pt x="2048" y="1474"/>
                    </a:cubicBezTo>
                    <a:cubicBezTo>
                      <a:pt x="2048" y="1226"/>
                      <a:pt x="2048" y="1226"/>
                      <a:pt x="2048" y="1226"/>
                    </a:cubicBezTo>
                    <a:cubicBezTo>
                      <a:pt x="2048" y="1169"/>
                      <a:pt x="2010" y="1120"/>
                      <a:pt x="1956" y="1104"/>
                    </a:cubicBezTo>
                    <a:close/>
                    <a:moveTo>
                      <a:pt x="445" y="1051"/>
                    </a:moveTo>
                    <a:cubicBezTo>
                      <a:pt x="445" y="1016"/>
                      <a:pt x="445" y="1016"/>
                      <a:pt x="445" y="1016"/>
                    </a:cubicBezTo>
                    <a:cubicBezTo>
                      <a:pt x="480" y="991"/>
                      <a:pt x="508" y="958"/>
                      <a:pt x="524" y="918"/>
                    </a:cubicBezTo>
                    <a:cubicBezTo>
                      <a:pt x="528" y="944"/>
                      <a:pt x="533" y="968"/>
                      <a:pt x="541" y="989"/>
                    </a:cubicBezTo>
                    <a:cubicBezTo>
                      <a:pt x="529" y="1004"/>
                      <a:pt x="501" y="1031"/>
                      <a:pt x="445" y="1051"/>
                    </a:cubicBezTo>
                    <a:close/>
                    <a:moveTo>
                      <a:pt x="124" y="738"/>
                    </a:moveTo>
                    <a:cubicBezTo>
                      <a:pt x="128" y="684"/>
                      <a:pt x="149" y="635"/>
                      <a:pt x="185" y="598"/>
                    </a:cubicBezTo>
                    <a:cubicBezTo>
                      <a:pt x="220" y="562"/>
                      <a:pt x="268" y="541"/>
                      <a:pt x="319" y="541"/>
                    </a:cubicBezTo>
                    <a:cubicBezTo>
                      <a:pt x="369" y="541"/>
                      <a:pt x="417" y="562"/>
                      <a:pt x="453" y="598"/>
                    </a:cubicBezTo>
                    <a:cubicBezTo>
                      <a:pt x="488" y="635"/>
                      <a:pt x="509" y="684"/>
                      <a:pt x="513" y="738"/>
                    </a:cubicBezTo>
                    <a:cubicBezTo>
                      <a:pt x="514" y="755"/>
                      <a:pt x="515" y="774"/>
                      <a:pt x="516" y="795"/>
                    </a:cubicBezTo>
                    <a:cubicBezTo>
                      <a:pt x="516" y="797"/>
                      <a:pt x="516" y="798"/>
                      <a:pt x="516" y="800"/>
                    </a:cubicBezTo>
                    <a:cubicBezTo>
                      <a:pt x="483" y="750"/>
                      <a:pt x="433" y="713"/>
                      <a:pt x="368" y="692"/>
                    </a:cubicBezTo>
                    <a:cubicBezTo>
                      <a:pt x="308" y="673"/>
                      <a:pt x="256" y="674"/>
                      <a:pt x="254" y="674"/>
                    </a:cubicBezTo>
                    <a:cubicBezTo>
                      <a:pt x="246" y="674"/>
                      <a:pt x="238" y="677"/>
                      <a:pt x="233" y="683"/>
                    </a:cubicBezTo>
                    <a:cubicBezTo>
                      <a:pt x="179" y="739"/>
                      <a:pt x="179" y="739"/>
                      <a:pt x="179" y="739"/>
                    </a:cubicBezTo>
                    <a:cubicBezTo>
                      <a:pt x="167" y="751"/>
                      <a:pt x="168" y="770"/>
                      <a:pt x="180" y="782"/>
                    </a:cubicBezTo>
                    <a:cubicBezTo>
                      <a:pt x="192" y="793"/>
                      <a:pt x="211" y="793"/>
                      <a:pt x="222" y="781"/>
                    </a:cubicBezTo>
                    <a:cubicBezTo>
                      <a:pt x="267" y="734"/>
                      <a:pt x="267" y="734"/>
                      <a:pt x="267" y="734"/>
                    </a:cubicBezTo>
                    <a:cubicBezTo>
                      <a:pt x="306" y="736"/>
                      <a:pt x="431" y="751"/>
                      <a:pt x="479" y="857"/>
                    </a:cubicBezTo>
                    <a:cubicBezTo>
                      <a:pt x="467" y="936"/>
                      <a:pt x="399" y="995"/>
                      <a:pt x="319" y="995"/>
                    </a:cubicBezTo>
                    <a:cubicBezTo>
                      <a:pt x="229" y="995"/>
                      <a:pt x="156" y="922"/>
                      <a:pt x="156" y="832"/>
                    </a:cubicBezTo>
                    <a:cubicBezTo>
                      <a:pt x="156" y="816"/>
                      <a:pt x="143" y="802"/>
                      <a:pt x="126" y="802"/>
                    </a:cubicBezTo>
                    <a:cubicBezTo>
                      <a:pt x="125" y="802"/>
                      <a:pt x="123" y="802"/>
                      <a:pt x="121" y="803"/>
                    </a:cubicBezTo>
                    <a:cubicBezTo>
                      <a:pt x="121" y="800"/>
                      <a:pt x="121" y="797"/>
                      <a:pt x="122" y="795"/>
                    </a:cubicBezTo>
                    <a:cubicBezTo>
                      <a:pt x="122" y="774"/>
                      <a:pt x="123" y="755"/>
                      <a:pt x="124" y="738"/>
                    </a:cubicBezTo>
                    <a:close/>
                    <a:moveTo>
                      <a:pt x="96" y="989"/>
                    </a:moveTo>
                    <a:cubicBezTo>
                      <a:pt x="104" y="968"/>
                      <a:pt x="110" y="943"/>
                      <a:pt x="113" y="918"/>
                    </a:cubicBezTo>
                    <a:cubicBezTo>
                      <a:pt x="130" y="957"/>
                      <a:pt x="158" y="991"/>
                      <a:pt x="192" y="1015"/>
                    </a:cubicBezTo>
                    <a:cubicBezTo>
                      <a:pt x="192" y="1051"/>
                      <a:pt x="192" y="1051"/>
                      <a:pt x="192" y="1051"/>
                    </a:cubicBezTo>
                    <a:cubicBezTo>
                      <a:pt x="136" y="1031"/>
                      <a:pt x="108" y="1004"/>
                      <a:pt x="96" y="989"/>
                    </a:cubicBezTo>
                    <a:close/>
                    <a:moveTo>
                      <a:pt x="273" y="1132"/>
                    </a:moveTo>
                    <a:cubicBezTo>
                      <a:pt x="245" y="1106"/>
                      <a:pt x="245" y="1106"/>
                      <a:pt x="245" y="1106"/>
                    </a:cubicBezTo>
                    <a:cubicBezTo>
                      <a:pt x="250" y="1097"/>
                      <a:pt x="252" y="1087"/>
                      <a:pt x="252" y="1077"/>
                    </a:cubicBezTo>
                    <a:cubicBezTo>
                      <a:pt x="252" y="1045"/>
                      <a:pt x="252" y="1045"/>
                      <a:pt x="252" y="1045"/>
                    </a:cubicBezTo>
                    <a:cubicBezTo>
                      <a:pt x="273" y="1051"/>
                      <a:pt x="296" y="1055"/>
                      <a:pt x="319" y="1055"/>
                    </a:cubicBezTo>
                    <a:cubicBezTo>
                      <a:pt x="342" y="1055"/>
                      <a:pt x="364" y="1051"/>
                      <a:pt x="385" y="1045"/>
                    </a:cubicBezTo>
                    <a:cubicBezTo>
                      <a:pt x="385" y="1077"/>
                      <a:pt x="385" y="1077"/>
                      <a:pt x="385" y="1077"/>
                    </a:cubicBezTo>
                    <a:cubicBezTo>
                      <a:pt x="385" y="1087"/>
                      <a:pt x="388" y="1097"/>
                      <a:pt x="392" y="1106"/>
                    </a:cubicBezTo>
                    <a:cubicBezTo>
                      <a:pt x="364" y="1132"/>
                      <a:pt x="364" y="1132"/>
                      <a:pt x="364" y="1132"/>
                    </a:cubicBezTo>
                    <a:cubicBezTo>
                      <a:pt x="339" y="1157"/>
                      <a:pt x="299" y="1157"/>
                      <a:pt x="273" y="1132"/>
                    </a:cubicBezTo>
                    <a:close/>
                    <a:moveTo>
                      <a:pt x="734" y="565"/>
                    </a:moveTo>
                    <a:cubicBezTo>
                      <a:pt x="734" y="490"/>
                      <a:pt x="734" y="490"/>
                      <a:pt x="734" y="490"/>
                    </a:cubicBezTo>
                    <a:cubicBezTo>
                      <a:pt x="734" y="486"/>
                      <a:pt x="733" y="481"/>
                      <a:pt x="731" y="477"/>
                    </a:cubicBezTo>
                    <a:cubicBezTo>
                      <a:pt x="711" y="437"/>
                      <a:pt x="702" y="395"/>
                      <a:pt x="702" y="351"/>
                    </a:cubicBezTo>
                    <a:cubicBezTo>
                      <a:pt x="702" y="287"/>
                      <a:pt x="702" y="287"/>
                      <a:pt x="702" y="287"/>
                    </a:cubicBezTo>
                    <a:cubicBezTo>
                      <a:pt x="702" y="162"/>
                      <a:pt x="803" y="60"/>
                      <a:pt x="928" y="60"/>
                    </a:cubicBezTo>
                    <a:cubicBezTo>
                      <a:pt x="1347" y="60"/>
                      <a:pt x="1347" y="60"/>
                      <a:pt x="1347" y="60"/>
                    </a:cubicBezTo>
                    <a:cubicBezTo>
                      <a:pt x="1347" y="351"/>
                      <a:pt x="1347" y="351"/>
                      <a:pt x="1347" y="351"/>
                    </a:cubicBezTo>
                    <a:cubicBezTo>
                      <a:pt x="1347" y="395"/>
                      <a:pt x="1337" y="437"/>
                      <a:pt x="1318" y="477"/>
                    </a:cubicBezTo>
                    <a:cubicBezTo>
                      <a:pt x="1316" y="481"/>
                      <a:pt x="1315" y="486"/>
                      <a:pt x="1315" y="490"/>
                    </a:cubicBezTo>
                    <a:cubicBezTo>
                      <a:pt x="1315" y="576"/>
                      <a:pt x="1315" y="576"/>
                      <a:pt x="1315" y="576"/>
                    </a:cubicBezTo>
                    <a:cubicBezTo>
                      <a:pt x="1315" y="657"/>
                      <a:pt x="1282" y="732"/>
                      <a:pt x="1223" y="788"/>
                    </a:cubicBezTo>
                    <a:cubicBezTo>
                      <a:pt x="1216" y="795"/>
                      <a:pt x="1208" y="801"/>
                      <a:pt x="1200" y="807"/>
                    </a:cubicBezTo>
                    <a:cubicBezTo>
                      <a:pt x="1200" y="807"/>
                      <a:pt x="1200" y="808"/>
                      <a:pt x="1200" y="808"/>
                    </a:cubicBezTo>
                    <a:cubicBezTo>
                      <a:pt x="1144" y="850"/>
                      <a:pt x="1076" y="870"/>
                      <a:pt x="1005" y="866"/>
                    </a:cubicBezTo>
                    <a:cubicBezTo>
                      <a:pt x="853" y="856"/>
                      <a:pt x="734" y="724"/>
                      <a:pt x="734" y="565"/>
                    </a:cubicBezTo>
                    <a:close/>
                    <a:moveTo>
                      <a:pt x="1001" y="926"/>
                    </a:moveTo>
                    <a:cubicBezTo>
                      <a:pt x="1009" y="926"/>
                      <a:pt x="1017" y="926"/>
                      <a:pt x="1025" y="926"/>
                    </a:cubicBezTo>
                    <a:cubicBezTo>
                      <a:pt x="1082" y="926"/>
                      <a:pt x="1137" y="913"/>
                      <a:pt x="1187" y="887"/>
                    </a:cubicBezTo>
                    <a:cubicBezTo>
                      <a:pt x="1187" y="941"/>
                      <a:pt x="1187" y="941"/>
                      <a:pt x="1187" y="941"/>
                    </a:cubicBezTo>
                    <a:cubicBezTo>
                      <a:pt x="1024" y="1052"/>
                      <a:pt x="1024" y="1052"/>
                      <a:pt x="1024" y="1052"/>
                    </a:cubicBezTo>
                    <a:cubicBezTo>
                      <a:pt x="862" y="941"/>
                      <a:pt x="862" y="941"/>
                      <a:pt x="862" y="941"/>
                    </a:cubicBezTo>
                    <a:cubicBezTo>
                      <a:pt x="862" y="885"/>
                      <a:pt x="862" y="885"/>
                      <a:pt x="862" y="885"/>
                    </a:cubicBezTo>
                    <a:cubicBezTo>
                      <a:pt x="904" y="908"/>
                      <a:pt x="951" y="922"/>
                      <a:pt x="1001" y="926"/>
                    </a:cubicBezTo>
                    <a:close/>
                    <a:moveTo>
                      <a:pt x="903" y="1168"/>
                    </a:moveTo>
                    <a:cubicBezTo>
                      <a:pt x="902" y="1168"/>
                      <a:pt x="902" y="1169"/>
                      <a:pt x="901" y="1169"/>
                    </a:cubicBezTo>
                    <a:cubicBezTo>
                      <a:pt x="900" y="1169"/>
                      <a:pt x="899" y="1168"/>
                      <a:pt x="899" y="1168"/>
                    </a:cubicBezTo>
                    <a:cubicBezTo>
                      <a:pt x="806" y="1028"/>
                      <a:pt x="806" y="1028"/>
                      <a:pt x="806" y="1028"/>
                    </a:cubicBezTo>
                    <a:cubicBezTo>
                      <a:pt x="836" y="996"/>
                      <a:pt x="836" y="996"/>
                      <a:pt x="836" y="996"/>
                    </a:cubicBezTo>
                    <a:cubicBezTo>
                      <a:pt x="978" y="1093"/>
                      <a:pt x="978" y="1093"/>
                      <a:pt x="978" y="1093"/>
                    </a:cubicBezTo>
                    <a:lnTo>
                      <a:pt x="903" y="1168"/>
                    </a:lnTo>
                    <a:close/>
                    <a:moveTo>
                      <a:pt x="1149" y="1168"/>
                    </a:moveTo>
                    <a:cubicBezTo>
                      <a:pt x="1149" y="1168"/>
                      <a:pt x="1149" y="1169"/>
                      <a:pt x="1148" y="1169"/>
                    </a:cubicBezTo>
                    <a:cubicBezTo>
                      <a:pt x="1147" y="1169"/>
                      <a:pt x="1146" y="1168"/>
                      <a:pt x="1146" y="1168"/>
                    </a:cubicBezTo>
                    <a:cubicBezTo>
                      <a:pt x="1071" y="1093"/>
                      <a:pt x="1071" y="1093"/>
                      <a:pt x="1071" y="1093"/>
                    </a:cubicBezTo>
                    <a:cubicBezTo>
                      <a:pt x="1213" y="996"/>
                      <a:pt x="1213" y="996"/>
                      <a:pt x="1213" y="996"/>
                    </a:cubicBezTo>
                    <a:cubicBezTo>
                      <a:pt x="1243" y="1028"/>
                      <a:pt x="1243" y="1028"/>
                      <a:pt x="1243" y="1028"/>
                    </a:cubicBezTo>
                    <a:lnTo>
                      <a:pt x="1149" y="1168"/>
                    </a:lnTo>
                    <a:close/>
                    <a:moveTo>
                      <a:pt x="1535" y="824"/>
                    </a:moveTo>
                    <a:cubicBezTo>
                      <a:pt x="1535" y="768"/>
                      <a:pt x="1535" y="768"/>
                      <a:pt x="1535" y="768"/>
                    </a:cubicBezTo>
                    <a:cubicBezTo>
                      <a:pt x="1535" y="763"/>
                      <a:pt x="1534" y="759"/>
                      <a:pt x="1532" y="755"/>
                    </a:cubicBezTo>
                    <a:cubicBezTo>
                      <a:pt x="1513" y="718"/>
                      <a:pt x="1513" y="718"/>
                      <a:pt x="1513" y="718"/>
                    </a:cubicBezTo>
                    <a:cubicBezTo>
                      <a:pt x="1506" y="704"/>
                      <a:pt x="1503" y="689"/>
                      <a:pt x="1503" y="674"/>
                    </a:cubicBezTo>
                    <a:cubicBezTo>
                      <a:pt x="1503" y="672"/>
                      <a:pt x="1503" y="672"/>
                      <a:pt x="1503" y="672"/>
                    </a:cubicBezTo>
                    <a:cubicBezTo>
                      <a:pt x="1503" y="600"/>
                      <a:pt x="1561" y="541"/>
                      <a:pt x="1633" y="541"/>
                    </a:cubicBezTo>
                    <a:cubicBezTo>
                      <a:pt x="1892" y="541"/>
                      <a:pt x="1892" y="541"/>
                      <a:pt x="1892" y="541"/>
                    </a:cubicBezTo>
                    <a:cubicBezTo>
                      <a:pt x="1892" y="666"/>
                      <a:pt x="1892" y="666"/>
                      <a:pt x="1892" y="666"/>
                    </a:cubicBezTo>
                    <a:cubicBezTo>
                      <a:pt x="1892" y="686"/>
                      <a:pt x="1887" y="706"/>
                      <a:pt x="1878" y="724"/>
                    </a:cubicBezTo>
                    <a:cubicBezTo>
                      <a:pt x="1863" y="755"/>
                      <a:pt x="1863" y="755"/>
                      <a:pt x="1863" y="755"/>
                    </a:cubicBezTo>
                    <a:cubicBezTo>
                      <a:pt x="1861" y="759"/>
                      <a:pt x="1860" y="763"/>
                      <a:pt x="1860" y="768"/>
                    </a:cubicBezTo>
                    <a:cubicBezTo>
                      <a:pt x="1860" y="832"/>
                      <a:pt x="1860" y="832"/>
                      <a:pt x="1860" y="832"/>
                    </a:cubicBezTo>
                    <a:cubicBezTo>
                      <a:pt x="1860" y="877"/>
                      <a:pt x="1842" y="918"/>
                      <a:pt x="1810" y="949"/>
                    </a:cubicBezTo>
                    <a:cubicBezTo>
                      <a:pt x="1779" y="980"/>
                      <a:pt x="1737" y="996"/>
                      <a:pt x="1692" y="995"/>
                    </a:cubicBezTo>
                    <a:cubicBezTo>
                      <a:pt x="1605" y="992"/>
                      <a:pt x="1535" y="916"/>
                      <a:pt x="1535" y="824"/>
                    </a:cubicBezTo>
                    <a:close/>
                    <a:moveTo>
                      <a:pt x="1690" y="1055"/>
                    </a:moveTo>
                    <a:cubicBezTo>
                      <a:pt x="1693" y="1055"/>
                      <a:pt x="1695" y="1055"/>
                      <a:pt x="1697" y="1055"/>
                    </a:cubicBezTo>
                    <a:cubicBezTo>
                      <a:pt x="1720" y="1055"/>
                      <a:pt x="1742" y="1051"/>
                      <a:pt x="1763" y="1045"/>
                    </a:cubicBezTo>
                    <a:cubicBezTo>
                      <a:pt x="1763" y="1057"/>
                      <a:pt x="1763" y="1057"/>
                      <a:pt x="1763" y="1057"/>
                    </a:cubicBezTo>
                    <a:cubicBezTo>
                      <a:pt x="1763" y="1063"/>
                      <a:pt x="1764" y="1069"/>
                      <a:pt x="1766" y="1074"/>
                    </a:cubicBezTo>
                    <a:cubicBezTo>
                      <a:pt x="1697" y="1143"/>
                      <a:pt x="1697" y="1143"/>
                      <a:pt x="1697" y="1143"/>
                    </a:cubicBezTo>
                    <a:cubicBezTo>
                      <a:pt x="1629" y="1075"/>
                      <a:pt x="1629" y="1075"/>
                      <a:pt x="1629" y="1075"/>
                    </a:cubicBezTo>
                    <a:cubicBezTo>
                      <a:pt x="1630" y="1069"/>
                      <a:pt x="1631" y="1063"/>
                      <a:pt x="1631" y="1057"/>
                    </a:cubicBezTo>
                    <a:cubicBezTo>
                      <a:pt x="1631" y="1044"/>
                      <a:pt x="1631" y="1044"/>
                      <a:pt x="1631" y="1044"/>
                    </a:cubicBezTo>
                    <a:cubicBezTo>
                      <a:pt x="1650" y="1050"/>
                      <a:pt x="1670" y="1054"/>
                      <a:pt x="1690" y="10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7" name="Freeform 7">
                <a:extLst>
                  <a:ext uri="{FF2B5EF4-FFF2-40B4-BE49-F238E27FC236}">
                    <a16:creationId xmlns:a16="http://schemas.microsoft.com/office/drawing/2014/main" id="{3BA6D2BA-6944-42E9-968C-2C65B29E8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4025" y="6037263"/>
                <a:ext cx="614363" cy="236538"/>
              </a:xfrm>
              <a:custGeom>
                <a:avLst/>
                <a:gdLst>
                  <a:gd name="T0" fmla="*/ 60 w 512"/>
                  <a:gd name="T1" fmla="*/ 98 h 197"/>
                  <a:gd name="T2" fmla="*/ 61 w 512"/>
                  <a:gd name="T3" fmla="*/ 96 h 197"/>
                  <a:gd name="T4" fmla="*/ 256 w 512"/>
                  <a:gd name="T5" fmla="*/ 87 h 197"/>
                  <a:gd name="T6" fmla="*/ 458 w 512"/>
                  <a:gd name="T7" fmla="*/ 156 h 197"/>
                  <a:gd name="T8" fmla="*/ 500 w 512"/>
                  <a:gd name="T9" fmla="*/ 156 h 197"/>
                  <a:gd name="T10" fmla="*/ 500 w 512"/>
                  <a:gd name="T11" fmla="*/ 114 h 197"/>
                  <a:gd name="T12" fmla="*/ 52 w 512"/>
                  <a:gd name="T13" fmla="*/ 37 h 197"/>
                  <a:gd name="T14" fmla="*/ 0 w 512"/>
                  <a:gd name="T15" fmla="*/ 98 h 197"/>
                  <a:gd name="T16" fmla="*/ 0 w 512"/>
                  <a:gd name="T17" fmla="*/ 167 h 197"/>
                  <a:gd name="T18" fmla="*/ 30 w 512"/>
                  <a:gd name="T19" fmla="*/ 197 h 197"/>
                  <a:gd name="T20" fmla="*/ 60 w 512"/>
                  <a:gd name="T21" fmla="*/ 167 h 197"/>
                  <a:gd name="T22" fmla="*/ 60 w 512"/>
                  <a:gd name="T23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2" h="197">
                    <a:moveTo>
                      <a:pt x="60" y="98"/>
                    </a:moveTo>
                    <a:cubicBezTo>
                      <a:pt x="60" y="97"/>
                      <a:pt x="61" y="96"/>
                      <a:pt x="61" y="96"/>
                    </a:cubicBezTo>
                    <a:cubicBezTo>
                      <a:pt x="100" y="90"/>
                      <a:pt x="177" y="81"/>
                      <a:pt x="256" y="87"/>
                    </a:cubicBezTo>
                    <a:cubicBezTo>
                      <a:pt x="350" y="93"/>
                      <a:pt x="418" y="116"/>
                      <a:pt x="458" y="156"/>
                    </a:cubicBezTo>
                    <a:cubicBezTo>
                      <a:pt x="469" y="168"/>
                      <a:pt x="488" y="168"/>
                      <a:pt x="500" y="156"/>
                    </a:cubicBezTo>
                    <a:cubicBezTo>
                      <a:pt x="512" y="145"/>
                      <a:pt x="512" y="126"/>
                      <a:pt x="500" y="114"/>
                    </a:cubicBezTo>
                    <a:cubicBezTo>
                      <a:pt x="387" y="0"/>
                      <a:pt x="149" y="22"/>
                      <a:pt x="52" y="37"/>
                    </a:cubicBezTo>
                    <a:cubicBezTo>
                      <a:pt x="22" y="41"/>
                      <a:pt x="0" y="67"/>
                      <a:pt x="0" y="98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84"/>
                      <a:pt x="13" y="197"/>
                      <a:pt x="30" y="197"/>
                    </a:cubicBezTo>
                    <a:cubicBezTo>
                      <a:pt x="46" y="197"/>
                      <a:pt x="60" y="184"/>
                      <a:pt x="60" y="167"/>
                    </a:cubicBezTo>
                    <a:cubicBezTo>
                      <a:pt x="60" y="98"/>
                      <a:pt x="60" y="98"/>
                      <a:pt x="60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E2D6BABC-9652-4AA2-B445-125F2015D14C}"/>
              </a:ext>
            </a:extLst>
          </p:cNvPr>
          <p:cNvSpPr/>
          <p:nvPr/>
        </p:nvSpPr>
        <p:spPr>
          <a:xfrm>
            <a:off x="609600" y="5565061"/>
            <a:ext cx="10972800" cy="60713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 err="1">
                <a:solidFill>
                  <a:schemeClr val="bg1"/>
                </a:solidFill>
              </a:rPr>
              <a:t>Rockbuster</a:t>
            </a:r>
            <a:r>
              <a:rPr lang="en-US" sz="1400" b="1" i="1" dirty="0">
                <a:solidFill>
                  <a:schemeClr val="bg1"/>
                </a:solidFill>
              </a:rPr>
              <a:t> Stealth is available in 108 countri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F26C65F-F9C3-08D3-0E62-D0FE81155846}"/>
              </a:ext>
            </a:extLst>
          </p:cNvPr>
          <p:cNvGrpSpPr/>
          <p:nvPr/>
        </p:nvGrpSpPr>
        <p:grpSpPr>
          <a:xfrm>
            <a:off x="1108103" y="2033705"/>
            <a:ext cx="4368574" cy="1077274"/>
            <a:chOff x="1108103" y="2033705"/>
            <a:chExt cx="4368574" cy="1077274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E287988-E100-4495-A368-33C146BE7F7A}"/>
                </a:ext>
              </a:extLst>
            </p:cNvPr>
            <p:cNvSpPr/>
            <p:nvPr/>
          </p:nvSpPr>
          <p:spPr>
            <a:xfrm>
              <a:off x="2913629" y="2465421"/>
              <a:ext cx="2563048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$63 312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8C0B6F3-370E-CCA0-B784-67BE2027C3AE}"/>
                </a:ext>
              </a:extLst>
            </p:cNvPr>
            <p:cNvGrpSpPr/>
            <p:nvPr/>
          </p:nvGrpSpPr>
          <p:grpSpPr>
            <a:xfrm>
              <a:off x="1108103" y="2033705"/>
              <a:ext cx="3451808" cy="1077274"/>
              <a:chOff x="1108103" y="2033705"/>
              <a:chExt cx="3451808" cy="1077274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8490111E-ED50-469A-A380-B07E5F7F309C}"/>
                  </a:ext>
                </a:extLst>
              </p:cNvPr>
              <p:cNvSpPr/>
              <p:nvPr/>
            </p:nvSpPr>
            <p:spPr>
              <a:xfrm>
                <a:off x="2913629" y="2171433"/>
                <a:ext cx="1646282" cy="1846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dirty="0">
                    <a:solidFill>
                      <a:schemeClr val="accent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OTAL REVENUE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6" name="Rectangle: Top Corners Rounded 145">
                <a:extLst>
                  <a:ext uri="{FF2B5EF4-FFF2-40B4-BE49-F238E27FC236}">
                    <a16:creationId xmlns:a16="http://schemas.microsoft.com/office/drawing/2014/main" id="{7CC41810-F629-46EB-A4C7-09A315F36158}"/>
                  </a:ext>
                </a:extLst>
              </p:cNvPr>
              <p:cNvSpPr/>
              <p:nvPr/>
            </p:nvSpPr>
            <p:spPr>
              <a:xfrm rot="5400000" flipH="1" flipV="1">
                <a:off x="1391140" y="2115950"/>
                <a:ext cx="346707" cy="91278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vert" lIns="72000" rIns="72000" bIns="43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sym typeface="Arial"/>
                  </a:rPr>
                  <a:t>01</a:t>
                </a:r>
                <a:endParaRPr kumimoji="0" lang="en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09907352-623B-4D56-8C90-8F71231EA231}"/>
                  </a:ext>
                </a:extLst>
              </p:cNvPr>
              <p:cNvSpPr/>
              <p:nvPr/>
            </p:nvSpPr>
            <p:spPr>
              <a:xfrm flipH="1">
                <a:off x="1669706" y="2033705"/>
                <a:ext cx="1077274" cy="107727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D21D0EB7-89F9-4850-B59F-32F17243608B}"/>
                  </a:ext>
                </a:extLst>
              </p:cNvPr>
              <p:cNvSpPr/>
              <p:nvPr/>
            </p:nvSpPr>
            <p:spPr>
              <a:xfrm flipH="1">
                <a:off x="1781149" y="2145147"/>
                <a:ext cx="854389" cy="8543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5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12">
                <a:extLst>
                  <a:ext uri="{FF2B5EF4-FFF2-40B4-BE49-F238E27FC236}">
                    <a16:creationId xmlns:a16="http://schemas.microsoft.com/office/drawing/2014/main" id="{9650053F-3520-361D-F8B7-737D45B673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078" y="2275961"/>
                <a:ext cx="473443" cy="582108"/>
              </a:xfrm>
              <a:custGeom>
                <a:avLst/>
                <a:gdLst>
                  <a:gd name="T0" fmla="*/ 210 w 577"/>
                  <a:gd name="T1" fmla="*/ 508 h 646"/>
                  <a:gd name="T2" fmla="*/ 219 w 577"/>
                  <a:gd name="T3" fmla="*/ 497 h 646"/>
                  <a:gd name="T4" fmla="*/ 353 w 577"/>
                  <a:gd name="T5" fmla="*/ 489 h 646"/>
                  <a:gd name="T6" fmla="*/ 296 w 577"/>
                  <a:gd name="T7" fmla="*/ 441 h 646"/>
                  <a:gd name="T8" fmla="*/ 222 w 577"/>
                  <a:gd name="T9" fmla="*/ 384 h 646"/>
                  <a:gd name="T10" fmla="*/ 367 w 577"/>
                  <a:gd name="T11" fmla="*/ 354 h 646"/>
                  <a:gd name="T12" fmla="*/ 360 w 577"/>
                  <a:gd name="T13" fmla="*/ 366 h 646"/>
                  <a:gd name="T14" fmla="*/ 236 w 577"/>
                  <a:gd name="T15" fmla="*/ 384 h 646"/>
                  <a:gd name="T16" fmla="*/ 299 w 577"/>
                  <a:gd name="T17" fmla="*/ 427 h 646"/>
                  <a:gd name="T18" fmla="*/ 367 w 577"/>
                  <a:gd name="T19" fmla="*/ 489 h 646"/>
                  <a:gd name="T20" fmla="*/ 302 w 577"/>
                  <a:gd name="T21" fmla="*/ 582 h 646"/>
                  <a:gd name="T22" fmla="*/ 295 w 577"/>
                  <a:gd name="T23" fmla="*/ 293 h 646"/>
                  <a:gd name="T24" fmla="*/ 288 w 577"/>
                  <a:gd name="T25" fmla="*/ 582 h 646"/>
                  <a:gd name="T26" fmla="*/ 302 w 577"/>
                  <a:gd name="T27" fmla="*/ 582 h 646"/>
                  <a:gd name="T28" fmla="*/ 359 w 577"/>
                  <a:gd name="T29" fmla="*/ 211 h 646"/>
                  <a:gd name="T30" fmla="*/ 289 w 577"/>
                  <a:gd name="T31" fmla="*/ 231 h 646"/>
                  <a:gd name="T32" fmla="*/ 227 w 577"/>
                  <a:gd name="T33" fmla="*/ 216 h 646"/>
                  <a:gd name="T34" fmla="*/ 289 w 577"/>
                  <a:gd name="T35" fmla="*/ 245 h 646"/>
                  <a:gd name="T36" fmla="*/ 577 w 577"/>
                  <a:gd name="T37" fmla="*/ 462 h 646"/>
                  <a:gd name="T38" fmla="*/ 444 w 577"/>
                  <a:gd name="T39" fmla="*/ 83 h 646"/>
                  <a:gd name="T40" fmla="*/ 458 w 577"/>
                  <a:gd name="T41" fmla="*/ 51 h 646"/>
                  <a:gd name="T42" fmla="*/ 393 w 577"/>
                  <a:gd name="T43" fmla="*/ 47 h 646"/>
                  <a:gd name="T44" fmla="*/ 344 w 577"/>
                  <a:gd name="T45" fmla="*/ 31 h 646"/>
                  <a:gd name="T46" fmla="*/ 289 w 577"/>
                  <a:gd name="T47" fmla="*/ 0 h 646"/>
                  <a:gd name="T48" fmla="*/ 233 w 577"/>
                  <a:gd name="T49" fmla="*/ 31 h 646"/>
                  <a:gd name="T50" fmla="*/ 200 w 577"/>
                  <a:gd name="T51" fmla="*/ 51 h 646"/>
                  <a:gd name="T52" fmla="*/ 147 w 577"/>
                  <a:gd name="T53" fmla="*/ 37 h 646"/>
                  <a:gd name="T54" fmla="*/ 130 w 577"/>
                  <a:gd name="T55" fmla="*/ 80 h 646"/>
                  <a:gd name="T56" fmla="*/ 213 w 577"/>
                  <a:gd name="T57" fmla="*/ 213 h 646"/>
                  <a:gd name="T58" fmla="*/ 289 w 577"/>
                  <a:gd name="T59" fmla="*/ 646 h 646"/>
                  <a:gd name="T60" fmla="*/ 179 w 577"/>
                  <a:gd name="T61" fmla="*/ 59 h 646"/>
                  <a:gd name="T62" fmla="*/ 200 w 577"/>
                  <a:gd name="T63" fmla="*/ 65 h 646"/>
                  <a:gd name="T64" fmla="*/ 246 w 577"/>
                  <a:gd name="T65" fmla="*/ 37 h 646"/>
                  <a:gd name="T66" fmla="*/ 331 w 577"/>
                  <a:gd name="T67" fmla="*/ 37 h 646"/>
                  <a:gd name="T68" fmla="*/ 377 w 577"/>
                  <a:gd name="T69" fmla="*/ 65 h 646"/>
                  <a:gd name="T70" fmla="*/ 430 w 577"/>
                  <a:gd name="T71" fmla="*/ 51 h 646"/>
                  <a:gd name="T72" fmla="*/ 438 w 577"/>
                  <a:gd name="T73" fmla="*/ 70 h 646"/>
                  <a:gd name="T74" fmla="*/ 350 w 577"/>
                  <a:gd name="T75" fmla="*/ 218 h 646"/>
                  <a:gd name="T76" fmla="*/ 563 w 577"/>
                  <a:gd name="T77" fmla="*/ 462 h 646"/>
                  <a:gd name="T78" fmla="*/ 14 w 577"/>
                  <a:gd name="T79" fmla="*/ 462 h 646"/>
                  <a:gd name="T80" fmla="*/ 227 w 577"/>
                  <a:gd name="T81" fmla="*/ 218 h 646"/>
                  <a:gd name="T82" fmla="*/ 140 w 577"/>
                  <a:gd name="T83" fmla="*/ 70 h 646"/>
                  <a:gd name="T84" fmla="*/ 147 w 577"/>
                  <a:gd name="T85" fmla="*/ 51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7" h="646">
                    <a:moveTo>
                      <a:pt x="297" y="542"/>
                    </a:moveTo>
                    <a:cubicBezTo>
                      <a:pt x="272" y="542"/>
                      <a:pt x="233" y="526"/>
                      <a:pt x="210" y="508"/>
                    </a:cubicBezTo>
                    <a:cubicBezTo>
                      <a:pt x="207" y="505"/>
                      <a:pt x="206" y="501"/>
                      <a:pt x="209" y="498"/>
                    </a:cubicBezTo>
                    <a:cubicBezTo>
                      <a:pt x="211" y="495"/>
                      <a:pt x="216" y="494"/>
                      <a:pt x="219" y="497"/>
                    </a:cubicBezTo>
                    <a:cubicBezTo>
                      <a:pt x="239" y="513"/>
                      <a:pt x="275" y="528"/>
                      <a:pt x="297" y="528"/>
                    </a:cubicBezTo>
                    <a:cubicBezTo>
                      <a:pt x="349" y="528"/>
                      <a:pt x="353" y="498"/>
                      <a:pt x="353" y="489"/>
                    </a:cubicBezTo>
                    <a:cubicBezTo>
                      <a:pt x="353" y="457"/>
                      <a:pt x="330" y="449"/>
                      <a:pt x="303" y="443"/>
                    </a:cubicBezTo>
                    <a:cubicBezTo>
                      <a:pt x="301" y="442"/>
                      <a:pt x="298" y="442"/>
                      <a:pt x="296" y="441"/>
                    </a:cubicBezTo>
                    <a:cubicBezTo>
                      <a:pt x="293" y="440"/>
                      <a:pt x="291" y="440"/>
                      <a:pt x="288" y="439"/>
                    </a:cubicBezTo>
                    <a:cubicBezTo>
                      <a:pt x="265" y="434"/>
                      <a:pt x="222" y="424"/>
                      <a:pt x="222" y="384"/>
                    </a:cubicBezTo>
                    <a:cubicBezTo>
                      <a:pt x="222" y="344"/>
                      <a:pt x="262" y="329"/>
                      <a:pt x="295" y="329"/>
                    </a:cubicBezTo>
                    <a:cubicBezTo>
                      <a:pt x="317" y="329"/>
                      <a:pt x="344" y="339"/>
                      <a:pt x="367" y="354"/>
                    </a:cubicBezTo>
                    <a:cubicBezTo>
                      <a:pt x="370" y="356"/>
                      <a:pt x="371" y="361"/>
                      <a:pt x="369" y="364"/>
                    </a:cubicBezTo>
                    <a:cubicBezTo>
                      <a:pt x="367" y="367"/>
                      <a:pt x="363" y="368"/>
                      <a:pt x="360" y="366"/>
                    </a:cubicBezTo>
                    <a:cubicBezTo>
                      <a:pt x="338" y="352"/>
                      <a:pt x="314" y="343"/>
                      <a:pt x="295" y="343"/>
                    </a:cubicBezTo>
                    <a:cubicBezTo>
                      <a:pt x="239" y="343"/>
                      <a:pt x="236" y="377"/>
                      <a:pt x="236" y="384"/>
                    </a:cubicBezTo>
                    <a:cubicBezTo>
                      <a:pt x="236" y="410"/>
                      <a:pt x="263" y="419"/>
                      <a:pt x="291" y="425"/>
                    </a:cubicBezTo>
                    <a:cubicBezTo>
                      <a:pt x="294" y="426"/>
                      <a:pt x="297" y="427"/>
                      <a:pt x="299" y="427"/>
                    </a:cubicBezTo>
                    <a:cubicBezTo>
                      <a:pt x="301" y="428"/>
                      <a:pt x="304" y="429"/>
                      <a:pt x="307" y="429"/>
                    </a:cubicBezTo>
                    <a:cubicBezTo>
                      <a:pt x="328" y="434"/>
                      <a:pt x="367" y="443"/>
                      <a:pt x="367" y="489"/>
                    </a:cubicBezTo>
                    <a:cubicBezTo>
                      <a:pt x="367" y="528"/>
                      <a:pt x="331" y="542"/>
                      <a:pt x="297" y="542"/>
                    </a:cubicBezTo>
                    <a:close/>
                    <a:moveTo>
                      <a:pt x="302" y="582"/>
                    </a:moveTo>
                    <a:cubicBezTo>
                      <a:pt x="302" y="300"/>
                      <a:pt x="302" y="300"/>
                      <a:pt x="302" y="300"/>
                    </a:cubicBezTo>
                    <a:cubicBezTo>
                      <a:pt x="302" y="297"/>
                      <a:pt x="299" y="293"/>
                      <a:pt x="295" y="293"/>
                    </a:cubicBezTo>
                    <a:cubicBezTo>
                      <a:pt x="292" y="293"/>
                      <a:pt x="288" y="297"/>
                      <a:pt x="288" y="300"/>
                    </a:cubicBezTo>
                    <a:cubicBezTo>
                      <a:pt x="288" y="582"/>
                      <a:pt x="288" y="582"/>
                      <a:pt x="288" y="582"/>
                    </a:cubicBezTo>
                    <a:cubicBezTo>
                      <a:pt x="288" y="586"/>
                      <a:pt x="292" y="589"/>
                      <a:pt x="295" y="589"/>
                    </a:cubicBezTo>
                    <a:cubicBezTo>
                      <a:pt x="299" y="589"/>
                      <a:pt x="302" y="586"/>
                      <a:pt x="302" y="582"/>
                    </a:cubicBezTo>
                    <a:close/>
                    <a:moveTo>
                      <a:pt x="364" y="219"/>
                    </a:moveTo>
                    <a:cubicBezTo>
                      <a:pt x="365" y="215"/>
                      <a:pt x="363" y="212"/>
                      <a:pt x="359" y="211"/>
                    </a:cubicBezTo>
                    <a:cubicBezTo>
                      <a:pt x="355" y="210"/>
                      <a:pt x="351" y="213"/>
                      <a:pt x="351" y="216"/>
                    </a:cubicBezTo>
                    <a:cubicBezTo>
                      <a:pt x="351" y="216"/>
                      <a:pt x="342" y="231"/>
                      <a:pt x="289" y="231"/>
                    </a:cubicBezTo>
                    <a:cubicBezTo>
                      <a:pt x="233" y="231"/>
                      <a:pt x="227" y="216"/>
                      <a:pt x="227" y="216"/>
                    </a:cubicBezTo>
                    <a:cubicBezTo>
                      <a:pt x="227" y="216"/>
                      <a:pt x="227" y="216"/>
                      <a:pt x="227" y="216"/>
                    </a:cubicBezTo>
                    <a:cubicBezTo>
                      <a:pt x="213" y="219"/>
                      <a:pt x="213" y="219"/>
                      <a:pt x="213" y="219"/>
                    </a:cubicBezTo>
                    <a:cubicBezTo>
                      <a:pt x="214" y="224"/>
                      <a:pt x="222" y="245"/>
                      <a:pt x="289" y="245"/>
                    </a:cubicBezTo>
                    <a:cubicBezTo>
                      <a:pt x="355" y="245"/>
                      <a:pt x="363" y="224"/>
                      <a:pt x="364" y="219"/>
                    </a:cubicBezTo>
                    <a:close/>
                    <a:moveTo>
                      <a:pt x="577" y="462"/>
                    </a:moveTo>
                    <a:cubicBezTo>
                      <a:pt x="577" y="344"/>
                      <a:pt x="452" y="245"/>
                      <a:pt x="365" y="213"/>
                    </a:cubicBezTo>
                    <a:cubicBezTo>
                      <a:pt x="366" y="181"/>
                      <a:pt x="381" y="134"/>
                      <a:pt x="444" y="83"/>
                    </a:cubicBezTo>
                    <a:cubicBezTo>
                      <a:pt x="446" y="81"/>
                      <a:pt x="447" y="80"/>
                      <a:pt x="447" y="80"/>
                    </a:cubicBezTo>
                    <a:cubicBezTo>
                      <a:pt x="461" y="67"/>
                      <a:pt x="461" y="57"/>
                      <a:pt x="458" y="51"/>
                    </a:cubicBezTo>
                    <a:cubicBezTo>
                      <a:pt x="455" y="42"/>
                      <a:pt x="445" y="37"/>
                      <a:pt x="430" y="37"/>
                    </a:cubicBezTo>
                    <a:cubicBezTo>
                      <a:pt x="418" y="37"/>
                      <a:pt x="405" y="41"/>
                      <a:pt x="393" y="47"/>
                    </a:cubicBezTo>
                    <a:cubicBezTo>
                      <a:pt x="387" y="49"/>
                      <a:pt x="382" y="51"/>
                      <a:pt x="377" y="51"/>
                    </a:cubicBezTo>
                    <a:cubicBezTo>
                      <a:pt x="365" y="51"/>
                      <a:pt x="356" y="43"/>
                      <a:pt x="344" y="31"/>
                    </a:cubicBezTo>
                    <a:cubicBezTo>
                      <a:pt x="341" y="28"/>
                      <a:pt x="341" y="28"/>
                      <a:pt x="341" y="28"/>
                    </a:cubicBezTo>
                    <a:cubicBezTo>
                      <a:pt x="329" y="15"/>
                      <a:pt x="314" y="0"/>
                      <a:pt x="289" y="0"/>
                    </a:cubicBezTo>
                    <a:cubicBezTo>
                      <a:pt x="263" y="0"/>
                      <a:pt x="249" y="15"/>
                      <a:pt x="236" y="28"/>
                    </a:cubicBezTo>
                    <a:cubicBezTo>
                      <a:pt x="233" y="31"/>
                      <a:pt x="233" y="31"/>
                      <a:pt x="233" y="31"/>
                    </a:cubicBezTo>
                    <a:cubicBezTo>
                      <a:pt x="222" y="43"/>
                      <a:pt x="212" y="51"/>
                      <a:pt x="200" y="51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196" y="51"/>
                      <a:pt x="190" y="49"/>
                      <a:pt x="185" y="47"/>
                    </a:cubicBezTo>
                    <a:cubicBezTo>
                      <a:pt x="172" y="41"/>
                      <a:pt x="159" y="37"/>
                      <a:pt x="147" y="37"/>
                    </a:cubicBezTo>
                    <a:cubicBezTo>
                      <a:pt x="133" y="37"/>
                      <a:pt x="123" y="42"/>
                      <a:pt x="119" y="51"/>
                    </a:cubicBezTo>
                    <a:cubicBezTo>
                      <a:pt x="117" y="57"/>
                      <a:pt x="117" y="67"/>
                      <a:pt x="130" y="80"/>
                    </a:cubicBezTo>
                    <a:cubicBezTo>
                      <a:pt x="131" y="80"/>
                      <a:pt x="132" y="81"/>
                      <a:pt x="134" y="83"/>
                    </a:cubicBezTo>
                    <a:cubicBezTo>
                      <a:pt x="196" y="134"/>
                      <a:pt x="212" y="181"/>
                      <a:pt x="213" y="213"/>
                    </a:cubicBezTo>
                    <a:cubicBezTo>
                      <a:pt x="125" y="245"/>
                      <a:pt x="0" y="344"/>
                      <a:pt x="0" y="462"/>
                    </a:cubicBezTo>
                    <a:cubicBezTo>
                      <a:pt x="0" y="579"/>
                      <a:pt x="47" y="646"/>
                      <a:pt x="289" y="646"/>
                    </a:cubicBezTo>
                    <a:cubicBezTo>
                      <a:pt x="530" y="646"/>
                      <a:pt x="577" y="579"/>
                      <a:pt x="577" y="462"/>
                    </a:cubicBezTo>
                    <a:close/>
                    <a:moveTo>
                      <a:pt x="179" y="59"/>
                    </a:moveTo>
                    <a:cubicBezTo>
                      <a:pt x="186" y="63"/>
                      <a:pt x="193" y="65"/>
                      <a:pt x="200" y="65"/>
                    </a:cubicBezTo>
                    <a:cubicBezTo>
                      <a:pt x="200" y="65"/>
                      <a:pt x="200" y="65"/>
                      <a:pt x="200" y="65"/>
                    </a:cubicBezTo>
                    <a:cubicBezTo>
                      <a:pt x="218" y="65"/>
                      <a:pt x="231" y="53"/>
                      <a:pt x="243" y="41"/>
                    </a:cubicBezTo>
                    <a:cubicBezTo>
                      <a:pt x="246" y="37"/>
                      <a:pt x="246" y="37"/>
                      <a:pt x="246" y="37"/>
                    </a:cubicBezTo>
                    <a:cubicBezTo>
                      <a:pt x="259" y="25"/>
                      <a:pt x="269" y="14"/>
                      <a:pt x="289" y="14"/>
                    </a:cubicBezTo>
                    <a:cubicBezTo>
                      <a:pt x="308" y="14"/>
                      <a:pt x="319" y="25"/>
                      <a:pt x="331" y="37"/>
                    </a:cubicBezTo>
                    <a:cubicBezTo>
                      <a:pt x="334" y="41"/>
                      <a:pt x="334" y="41"/>
                      <a:pt x="334" y="41"/>
                    </a:cubicBezTo>
                    <a:cubicBezTo>
                      <a:pt x="346" y="53"/>
                      <a:pt x="359" y="65"/>
                      <a:pt x="377" y="65"/>
                    </a:cubicBezTo>
                    <a:cubicBezTo>
                      <a:pt x="384" y="65"/>
                      <a:pt x="391" y="63"/>
                      <a:pt x="399" y="59"/>
                    </a:cubicBezTo>
                    <a:cubicBezTo>
                      <a:pt x="409" y="54"/>
                      <a:pt x="420" y="51"/>
                      <a:pt x="430" y="51"/>
                    </a:cubicBezTo>
                    <a:cubicBezTo>
                      <a:pt x="439" y="51"/>
                      <a:pt x="444" y="54"/>
                      <a:pt x="445" y="56"/>
                    </a:cubicBezTo>
                    <a:cubicBezTo>
                      <a:pt x="446" y="58"/>
                      <a:pt x="445" y="63"/>
                      <a:pt x="438" y="70"/>
                    </a:cubicBezTo>
                    <a:cubicBezTo>
                      <a:pt x="437" y="70"/>
                      <a:pt x="436" y="71"/>
                      <a:pt x="435" y="72"/>
                    </a:cubicBezTo>
                    <a:cubicBezTo>
                      <a:pt x="365" y="129"/>
                      <a:pt x="350" y="183"/>
                      <a:pt x="350" y="218"/>
                    </a:cubicBezTo>
                    <a:cubicBezTo>
                      <a:pt x="350" y="221"/>
                      <a:pt x="352" y="223"/>
                      <a:pt x="355" y="224"/>
                    </a:cubicBezTo>
                    <a:cubicBezTo>
                      <a:pt x="439" y="253"/>
                      <a:pt x="563" y="349"/>
                      <a:pt x="563" y="462"/>
                    </a:cubicBezTo>
                    <a:cubicBezTo>
                      <a:pt x="563" y="573"/>
                      <a:pt x="520" y="632"/>
                      <a:pt x="289" y="632"/>
                    </a:cubicBezTo>
                    <a:cubicBezTo>
                      <a:pt x="58" y="632"/>
                      <a:pt x="14" y="573"/>
                      <a:pt x="14" y="462"/>
                    </a:cubicBezTo>
                    <a:cubicBezTo>
                      <a:pt x="14" y="349"/>
                      <a:pt x="138" y="253"/>
                      <a:pt x="222" y="224"/>
                    </a:cubicBezTo>
                    <a:cubicBezTo>
                      <a:pt x="225" y="223"/>
                      <a:pt x="227" y="221"/>
                      <a:pt x="227" y="218"/>
                    </a:cubicBezTo>
                    <a:cubicBezTo>
                      <a:pt x="227" y="183"/>
                      <a:pt x="212" y="129"/>
                      <a:pt x="143" y="72"/>
                    </a:cubicBezTo>
                    <a:cubicBezTo>
                      <a:pt x="141" y="71"/>
                      <a:pt x="140" y="70"/>
                      <a:pt x="140" y="70"/>
                    </a:cubicBezTo>
                    <a:cubicBezTo>
                      <a:pt x="133" y="63"/>
                      <a:pt x="131" y="58"/>
                      <a:pt x="132" y="56"/>
                    </a:cubicBezTo>
                    <a:cubicBezTo>
                      <a:pt x="133" y="54"/>
                      <a:pt x="138" y="51"/>
                      <a:pt x="147" y="51"/>
                    </a:cubicBezTo>
                    <a:cubicBezTo>
                      <a:pt x="157" y="51"/>
                      <a:pt x="168" y="54"/>
                      <a:pt x="179" y="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404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GLOBAL DISTRIB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CBE44F2-FB12-418C-93B5-2BD9775EB1BA}"/>
              </a:ext>
            </a:extLst>
          </p:cNvPr>
          <p:cNvSpPr/>
          <p:nvPr/>
        </p:nvSpPr>
        <p:spPr>
          <a:xfrm>
            <a:off x="609600" y="5565061"/>
            <a:ext cx="10972800" cy="60713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 err="1">
                <a:solidFill>
                  <a:schemeClr val="bg1"/>
                </a:solidFill>
              </a:rPr>
              <a:t>Rockbuster</a:t>
            </a:r>
            <a:r>
              <a:rPr lang="en-US" sz="1400" b="1" i="1" dirty="0">
                <a:solidFill>
                  <a:schemeClr val="bg1"/>
                </a:solidFill>
              </a:rPr>
              <a:t> Stealth has 599 customers renting films from 108 countries across the globe.</a:t>
            </a:r>
          </a:p>
          <a:p>
            <a:pPr lvl="0" algn="ctr"/>
            <a:r>
              <a:rPr lang="en-US" sz="1400" b="1" i="1" dirty="0">
                <a:solidFill>
                  <a:schemeClr val="bg1"/>
                </a:solidFill>
              </a:rPr>
              <a:t>India, China and USA generate the most revenue and have the highest customer bas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D8D0617-2903-780E-A330-FEECC85F5200}"/>
              </a:ext>
            </a:extLst>
          </p:cNvPr>
          <p:cNvGrpSpPr/>
          <p:nvPr/>
        </p:nvGrpSpPr>
        <p:grpSpPr>
          <a:xfrm>
            <a:off x="2487679" y="1546487"/>
            <a:ext cx="9381248" cy="3864311"/>
            <a:chOff x="2476526" y="1546487"/>
            <a:chExt cx="9381248" cy="3864311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FA540BE-BC41-9495-9A60-00A7498CE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6526" y="1546487"/>
              <a:ext cx="7238947" cy="386431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9E46555-2B7D-0043-BD71-9E472274D3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01974" y="2540885"/>
              <a:ext cx="1955800" cy="218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9217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58971 0.00532 L -0.03268 0.0053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5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FILM PERFORM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6091F17-495E-4ADE-A2EF-884A2E079A8E}"/>
              </a:ext>
            </a:extLst>
          </p:cNvPr>
          <p:cNvSpPr/>
          <p:nvPr/>
        </p:nvSpPr>
        <p:spPr>
          <a:xfrm>
            <a:off x="360266" y="502513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D605CB3-DD41-4D2A-9EA1-33F321519D75}"/>
              </a:ext>
            </a:extLst>
          </p:cNvPr>
          <p:cNvSpPr/>
          <p:nvPr/>
        </p:nvSpPr>
        <p:spPr>
          <a:xfrm flipH="1">
            <a:off x="2009614" y="5176973"/>
            <a:ext cx="854389" cy="45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E21296C-4F98-4059-88B8-81B9C5888859}"/>
              </a:ext>
            </a:extLst>
          </p:cNvPr>
          <p:cNvSpPr/>
          <p:nvPr/>
        </p:nvSpPr>
        <p:spPr>
          <a:xfrm flipH="1">
            <a:off x="7421488" y="5176973"/>
            <a:ext cx="854389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CBE44F2-FB12-418C-93B5-2BD9775EB1BA}"/>
              </a:ext>
            </a:extLst>
          </p:cNvPr>
          <p:cNvSpPr/>
          <p:nvPr/>
        </p:nvSpPr>
        <p:spPr>
          <a:xfrm>
            <a:off x="609600" y="5565061"/>
            <a:ext cx="10972800" cy="60713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 err="1">
                <a:solidFill>
                  <a:schemeClr val="bg1"/>
                </a:solidFill>
              </a:rPr>
              <a:t>Rockbuster</a:t>
            </a:r>
            <a:r>
              <a:rPr lang="en-US" sz="1400" b="1" i="1" dirty="0">
                <a:solidFill>
                  <a:schemeClr val="bg1"/>
                </a:solidFill>
              </a:rPr>
              <a:t> has close to 1 000 films available for rental to its customers. Other films perform better than others. The typical duration of rental is 5 days per movie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4D1937-F4A8-E5FE-C5BB-8C7DBA162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266" y="1610151"/>
            <a:ext cx="5360310" cy="34002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B0AFB0-A413-5685-2BA1-81F9BDD1FB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334" y="1635308"/>
            <a:ext cx="5360400" cy="33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80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CATEGORY PERFORM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6091F17-495E-4ADE-A2EF-884A2E079A8E}"/>
              </a:ext>
            </a:extLst>
          </p:cNvPr>
          <p:cNvSpPr/>
          <p:nvPr/>
        </p:nvSpPr>
        <p:spPr>
          <a:xfrm>
            <a:off x="360266" y="502513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E21296C-4F98-4059-88B8-81B9C5888859}"/>
              </a:ext>
            </a:extLst>
          </p:cNvPr>
          <p:cNvSpPr/>
          <p:nvPr/>
        </p:nvSpPr>
        <p:spPr>
          <a:xfrm flipH="1">
            <a:off x="7421488" y="5176973"/>
            <a:ext cx="854389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CBE44F2-FB12-418C-93B5-2BD9775EB1BA}"/>
              </a:ext>
            </a:extLst>
          </p:cNvPr>
          <p:cNvSpPr/>
          <p:nvPr/>
        </p:nvSpPr>
        <p:spPr>
          <a:xfrm>
            <a:off x="609600" y="5565061"/>
            <a:ext cx="10972800" cy="60713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>
                <a:solidFill>
                  <a:schemeClr val="bg1"/>
                </a:solidFill>
              </a:rPr>
              <a:t>The data suggests that the Sports category, followed by Sci-Fi and Animation are the most rented categories and generate the most revenue.  Music and Travel, on the contrary do not perform that wel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495BB5-F857-F52A-3F2E-03B697D813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6918" y="1564423"/>
            <a:ext cx="5798163" cy="392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936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USERBASE 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6091F17-495E-4ADE-A2EF-884A2E079A8E}"/>
              </a:ext>
            </a:extLst>
          </p:cNvPr>
          <p:cNvSpPr/>
          <p:nvPr/>
        </p:nvSpPr>
        <p:spPr>
          <a:xfrm>
            <a:off x="360266" y="502513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D605CB3-DD41-4D2A-9EA1-33F321519D75}"/>
              </a:ext>
            </a:extLst>
          </p:cNvPr>
          <p:cNvSpPr/>
          <p:nvPr/>
        </p:nvSpPr>
        <p:spPr>
          <a:xfrm flipH="1">
            <a:off x="2009614" y="5176973"/>
            <a:ext cx="854389" cy="45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E21296C-4F98-4059-88B8-81B9C5888859}"/>
              </a:ext>
            </a:extLst>
          </p:cNvPr>
          <p:cNvSpPr/>
          <p:nvPr/>
        </p:nvSpPr>
        <p:spPr>
          <a:xfrm flipH="1">
            <a:off x="7421488" y="5176973"/>
            <a:ext cx="854389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CBE44F2-FB12-418C-93B5-2BD9775EB1BA}"/>
              </a:ext>
            </a:extLst>
          </p:cNvPr>
          <p:cNvSpPr/>
          <p:nvPr/>
        </p:nvSpPr>
        <p:spPr>
          <a:xfrm>
            <a:off x="609600" y="5472073"/>
            <a:ext cx="10972800" cy="7912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54900">
                <a:srgbClr val="09B8B7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i="1" dirty="0">
                <a:solidFill>
                  <a:schemeClr val="bg1"/>
                </a:solidFill>
              </a:rPr>
              <a:t>India, China and the United States have almost a third of the customer base account for 158 customers together. Other countries with a high number of customers are Japan and Mexico.</a:t>
            </a:r>
          </a:p>
          <a:p>
            <a:pPr lvl="0" algn="ctr"/>
            <a:r>
              <a:rPr lang="en-US" sz="1400" b="1" i="1" dirty="0">
                <a:solidFill>
                  <a:schemeClr val="bg1"/>
                </a:solidFill>
              </a:rPr>
              <a:t>The high value customers come from across the world and these top 10 customers bring in about $1 844 altogether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3A7B5E-E02A-1B55-7236-A4232BFA0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1" y="1623140"/>
            <a:ext cx="4771635" cy="3401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5BB4328-5EB5-5CB0-63B4-50A9BD540F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1737" y="1635308"/>
            <a:ext cx="5758870" cy="340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934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000" dirty="0"/>
              <a:t>RECOMMEND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5578F59D-508C-44BF-80FB-317B7A87E57D}"/>
              </a:ext>
            </a:extLst>
          </p:cNvPr>
          <p:cNvSpPr/>
          <p:nvPr/>
        </p:nvSpPr>
        <p:spPr>
          <a:xfrm>
            <a:off x="360266" y="1641213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E889282-7F12-4D1F-90DD-984E2F6C2032}"/>
              </a:ext>
            </a:extLst>
          </p:cNvPr>
          <p:cNvSpPr/>
          <p:nvPr/>
        </p:nvSpPr>
        <p:spPr>
          <a:xfrm>
            <a:off x="360266" y="1901515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7DC8364-892A-43AD-81C8-DAF1659DC4BF}"/>
              </a:ext>
            </a:extLst>
          </p:cNvPr>
          <p:cNvSpPr/>
          <p:nvPr/>
        </p:nvSpPr>
        <p:spPr>
          <a:xfrm>
            <a:off x="360266" y="2161817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E43D303-5BF4-4EF5-BAAD-244CC20439F4}"/>
              </a:ext>
            </a:extLst>
          </p:cNvPr>
          <p:cNvSpPr/>
          <p:nvPr/>
        </p:nvSpPr>
        <p:spPr>
          <a:xfrm>
            <a:off x="360266" y="2422119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B530D03-4809-4537-87BB-3A7072E54B49}"/>
              </a:ext>
            </a:extLst>
          </p:cNvPr>
          <p:cNvSpPr/>
          <p:nvPr/>
        </p:nvSpPr>
        <p:spPr>
          <a:xfrm>
            <a:off x="360266" y="2682421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F925FC1-BD59-4349-A86F-F3C0F1F82B0B}"/>
              </a:ext>
            </a:extLst>
          </p:cNvPr>
          <p:cNvSpPr/>
          <p:nvPr/>
        </p:nvSpPr>
        <p:spPr>
          <a:xfrm>
            <a:off x="360266" y="2942723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1CB9C16-C2E6-4BD3-825D-1A8C30ADDC6C}"/>
              </a:ext>
            </a:extLst>
          </p:cNvPr>
          <p:cNvSpPr/>
          <p:nvPr/>
        </p:nvSpPr>
        <p:spPr>
          <a:xfrm>
            <a:off x="360266" y="3203025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3B76859-239B-4D59-A1F1-610BF7DD43D4}"/>
              </a:ext>
            </a:extLst>
          </p:cNvPr>
          <p:cNvSpPr/>
          <p:nvPr/>
        </p:nvSpPr>
        <p:spPr>
          <a:xfrm>
            <a:off x="360266" y="3463327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6A11A60-1AB2-4548-9AA7-221FCBBD0F82}"/>
              </a:ext>
            </a:extLst>
          </p:cNvPr>
          <p:cNvSpPr/>
          <p:nvPr/>
        </p:nvSpPr>
        <p:spPr>
          <a:xfrm>
            <a:off x="360266" y="372362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B7E57FA-A1EE-4163-8145-6F5329A18CD7}"/>
              </a:ext>
            </a:extLst>
          </p:cNvPr>
          <p:cNvSpPr/>
          <p:nvPr/>
        </p:nvSpPr>
        <p:spPr>
          <a:xfrm>
            <a:off x="360266" y="3983931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A31C63B-4A82-4ACF-911E-1361374CDC28}"/>
              </a:ext>
            </a:extLst>
          </p:cNvPr>
          <p:cNvSpPr/>
          <p:nvPr/>
        </p:nvSpPr>
        <p:spPr>
          <a:xfrm>
            <a:off x="360266" y="4244233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DB9D4D0-473C-48A4-B34A-6425EE793715}"/>
              </a:ext>
            </a:extLst>
          </p:cNvPr>
          <p:cNvSpPr/>
          <p:nvPr/>
        </p:nvSpPr>
        <p:spPr>
          <a:xfrm>
            <a:off x="360266" y="4504535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38F3B6A-11F5-42DB-93A6-0EA23D187C62}"/>
              </a:ext>
            </a:extLst>
          </p:cNvPr>
          <p:cNvSpPr/>
          <p:nvPr/>
        </p:nvSpPr>
        <p:spPr>
          <a:xfrm>
            <a:off x="360266" y="4764837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6091F17-495E-4ADE-A2EF-884A2E079A8E}"/>
              </a:ext>
            </a:extLst>
          </p:cNvPr>
          <p:cNvSpPr/>
          <p:nvPr/>
        </p:nvSpPr>
        <p:spPr>
          <a:xfrm>
            <a:off x="360266" y="502513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E438F61-A18A-4457-A5EC-EF1959497691}"/>
              </a:ext>
            </a:extLst>
          </p:cNvPr>
          <p:cNvSpPr/>
          <p:nvPr/>
        </p:nvSpPr>
        <p:spPr>
          <a:xfrm flipH="1">
            <a:off x="2044886" y="1861094"/>
            <a:ext cx="3312137" cy="73866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cus marketing on the bigger markets with the most customers and generate the most revenue.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4543C0E-8C31-4060-B387-04EE6249C251}"/>
              </a:ext>
            </a:extLst>
          </p:cNvPr>
          <p:cNvSpPr/>
          <p:nvPr/>
        </p:nvSpPr>
        <p:spPr>
          <a:xfrm flipH="1">
            <a:off x="739328" y="1695098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AA8B8B7-252C-4C31-95A7-DE29860E3943}"/>
              </a:ext>
            </a:extLst>
          </p:cNvPr>
          <p:cNvSpPr/>
          <p:nvPr/>
        </p:nvSpPr>
        <p:spPr>
          <a:xfrm flipH="1">
            <a:off x="850771" y="1806540"/>
            <a:ext cx="854389" cy="85438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D605CB3-DD41-4D2A-9EA1-33F321519D75}"/>
              </a:ext>
            </a:extLst>
          </p:cNvPr>
          <p:cNvSpPr/>
          <p:nvPr/>
        </p:nvSpPr>
        <p:spPr>
          <a:xfrm flipH="1">
            <a:off x="2029408" y="3275471"/>
            <a:ext cx="854389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FC2B5F8-A939-4D48-A8AF-5CA8C88FB668}"/>
              </a:ext>
            </a:extLst>
          </p:cNvPr>
          <p:cNvSpPr/>
          <p:nvPr/>
        </p:nvSpPr>
        <p:spPr>
          <a:xfrm flipH="1">
            <a:off x="2029408" y="3829577"/>
            <a:ext cx="3312137" cy="73866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ggest also adding a reel on the platform that shows the "top 10 movies" or "most watched"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A7259FF-838B-4572-97D9-F41D3D3F1982}"/>
              </a:ext>
            </a:extLst>
          </p:cNvPr>
          <p:cNvSpPr/>
          <p:nvPr/>
        </p:nvSpPr>
        <p:spPr>
          <a:xfrm flipH="1">
            <a:off x="739328" y="3630577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4290F67-A5C3-4150-9CE5-9B9342C1B846}"/>
              </a:ext>
            </a:extLst>
          </p:cNvPr>
          <p:cNvSpPr/>
          <p:nvPr/>
        </p:nvSpPr>
        <p:spPr>
          <a:xfrm flipH="1">
            <a:off x="850771" y="3742019"/>
            <a:ext cx="854389" cy="85438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208DF40-BFA9-4188-8314-0F2522F02F6E}"/>
              </a:ext>
            </a:extLst>
          </p:cNvPr>
          <p:cNvSpPr/>
          <p:nvPr/>
        </p:nvSpPr>
        <p:spPr>
          <a:xfrm flipH="1">
            <a:off x="2029408" y="5193452"/>
            <a:ext cx="854389" cy="45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06408E2-9782-4871-9FFD-8B8AE355C56C}"/>
              </a:ext>
            </a:extLst>
          </p:cNvPr>
          <p:cNvSpPr/>
          <p:nvPr/>
        </p:nvSpPr>
        <p:spPr>
          <a:xfrm flipH="1">
            <a:off x="7386080" y="1555340"/>
            <a:ext cx="3312137" cy="1231106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ighlight the best-performing film categories and review how the other categories that don't perform well, such as Music and Travel can be boosted.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34831AE-9596-48C3-A378-E7E7AEE056A9}"/>
              </a:ext>
            </a:extLst>
          </p:cNvPr>
          <p:cNvSpPr/>
          <p:nvPr/>
        </p:nvSpPr>
        <p:spPr>
          <a:xfrm flipH="1">
            <a:off x="6096000" y="1695098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EDD64C3-B8BD-4499-8274-15B03466AA49}"/>
              </a:ext>
            </a:extLst>
          </p:cNvPr>
          <p:cNvSpPr/>
          <p:nvPr/>
        </p:nvSpPr>
        <p:spPr>
          <a:xfrm flipH="1">
            <a:off x="6207443" y="1806540"/>
            <a:ext cx="854389" cy="85438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C86A4D-F5B8-4697-947A-8BF13AC5AB89}"/>
              </a:ext>
            </a:extLst>
          </p:cNvPr>
          <p:cNvSpPr/>
          <p:nvPr/>
        </p:nvSpPr>
        <p:spPr>
          <a:xfrm flipH="1">
            <a:off x="7386080" y="3275471"/>
            <a:ext cx="854389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C80BF51-D63D-493B-9F87-DA375B7CF2CF}"/>
              </a:ext>
            </a:extLst>
          </p:cNvPr>
          <p:cNvSpPr/>
          <p:nvPr/>
        </p:nvSpPr>
        <p:spPr>
          <a:xfrm flipH="1">
            <a:off x="7386079" y="3868171"/>
            <a:ext cx="3312137" cy="73866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sider removing films that don't perform well as this can reduce costs from licensing.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B047609-0747-4EEB-9A13-C41F42134471}"/>
              </a:ext>
            </a:extLst>
          </p:cNvPr>
          <p:cNvSpPr/>
          <p:nvPr/>
        </p:nvSpPr>
        <p:spPr>
          <a:xfrm flipH="1">
            <a:off x="6096000" y="3630577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9EFA3C1-0C2E-41C5-AADB-811A27BF7484}"/>
              </a:ext>
            </a:extLst>
          </p:cNvPr>
          <p:cNvSpPr/>
          <p:nvPr/>
        </p:nvSpPr>
        <p:spPr>
          <a:xfrm flipH="1">
            <a:off x="6207443" y="3742019"/>
            <a:ext cx="854389" cy="854389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D158270-1B05-4F99-83BA-FB1E576A1843}"/>
              </a:ext>
            </a:extLst>
          </p:cNvPr>
          <p:cNvSpPr/>
          <p:nvPr/>
        </p:nvSpPr>
        <p:spPr>
          <a:xfrm flipH="1">
            <a:off x="7386080" y="5193452"/>
            <a:ext cx="854389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DD5009D-8339-477C-9837-6A2BA3972992}"/>
              </a:ext>
            </a:extLst>
          </p:cNvPr>
          <p:cNvGrpSpPr/>
          <p:nvPr/>
        </p:nvGrpSpPr>
        <p:grpSpPr>
          <a:xfrm>
            <a:off x="6485693" y="2091975"/>
            <a:ext cx="297889" cy="283518"/>
            <a:chOff x="3390900" y="4346575"/>
            <a:chExt cx="361950" cy="344488"/>
          </a:xfrm>
          <a:solidFill>
            <a:schemeClr val="bg1"/>
          </a:solidFill>
        </p:grpSpPr>
        <p:sp>
          <p:nvSpPr>
            <p:cNvPr id="65" name="Freeform 1228">
              <a:extLst>
                <a:ext uri="{FF2B5EF4-FFF2-40B4-BE49-F238E27FC236}">
                  <a16:creationId xmlns:a16="http://schemas.microsoft.com/office/drawing/2014/main" id="{ADE1F148-5BEC-4217-A576-603342135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676775"/>
              <a:ext cx="361950" cy="14288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1229">
              <a:extLst>
                <a:ext uri="{FF2B5EF4-FFF2-40B4-BE49-F238E27FC236}">
                  <a16:creationId xmlns:a16="http://schemas.microsoft.com/office/drawing/2014/main" id="{0E741D89-E0BA-4A1D-8BD2-F5BEF4EF9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6650" y="4630738"/>
              <a:ext cx="60325" cy="60325"/>
            </a:xfrm>
            <a:custGeom>
              <a:avLst/>
              <a:gdLst>
                <a:gd name="T0" fmla="*/ 14 w 16"/>
                <a:gd name="T1" fmla="*/ 16 h 16"/>
                <a:gd name="T2" fmla="*/ 2 w 16"/>
                <a:gd name="T3" fmla="*/ 16 h 16"/>
                <a:gd name="T4" fmla="*/ 0 w 16"/>
                <a:gd name="T5" fmla="*/ 14 h 16"/>
                <a:gd name="T6" fmla="*/ 0 w 16"/>
                <a:gd name="T7" fmla="*/ 2 h 16"/>
                <a:gd name="T8" fmla="*/ 2 w 16"/>
                <a:gd name="T9" fmla="*/ 0 h 16"/>
                <a:gd name="T10" fmla="*/ 14 w 16"/>
                <a:gd name="T11" fmla="*/ 0 h 16"/>
                <a:gd name="T12" fmla="*/ 16 w 16"/>
                <a:gd name="T13" fmla="*/ 2 h 16"/>
                <a:gd name="T14" fmla="*/ 16 w 16"/>
                <a:gd name="T15" fmla="*/ 14 h 16"/>
                <a:gd name="T16" fmla="*/ 14 w 16"/>
                <a:gd name="T17" fmla="*/ 16 h 16"/>
                <a:gd name="T18" fmla="*/ 4 w 16"/>
                <a:gd name="T19" fmla="*/ 12 h 16"/>
                <a:gd name="T20" fmla="*/ 12 w 16"/>
                <a:gd name="T21" fmla="*/ 12 h 16"/>
                <a:gd name="T22" fmla="*/ 12 w 16"/>
                <a:gd name="T23" fmla="*/ 4 h 16"/>
                <a:gd name="T24" fmla="*/ 4 w 16"/>
                <a:gd name="T25" fmla="*/ 4 h 16"/>
                <a:gd name="T26" fmla="*/ 4 w 16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6">
                  <a:moveTo>
                    <a:pt x="14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5"/>
                    <a:pt x="15" y="16"/>
                    <a:pt x="14" y="16"/>
                  </a:cubicBezTo>
                  <a:close/>
                  <a:moveTo>
                    <a:pt x="4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1230">
              <a:extLst>
                <a:ext uri="{FF2B5EF4-FFF2-40B4-BE49-F238E27FC236}">
                  <a16:creationId xmlns:a16="http://schemas.microsoft.com/office/drawing/2014/main" id="{BDC0B85D-2B44-4CEC-9D6F-3C437040A9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4572000"/>
              <a:ext cx="60325" cy="119063"/>
            </a:xfrm>
            <a:custGeom>
              <a:avLst/>
              <a:gdLst>
                <a:gd name="T0" fmla="*/ 14 w 16"/>
                <a:gd name="T1" fmla="*/ 32 h 32"/>
                <a:gd name="T2" fmla="*/ 2 w 16"/>
                <a:gd name="T3" fmla="*/ 32 h 32"/>
                <a:gd name="T4" fmla="*/ 0 w 16"/>
                <a:gd name="T5" fmla="*/ 30 h 32"/>
                <a:gd name="T6" fmla="*/ 0 w 16"/>
                <a:gd name="T7" fmla="*/ 2 h 32"/>
                <a:gd name="T8" fmla="*/ 2 w 16"/>
                <a:gd name="T9" fmla="*/ 0 h 32"/>
                <a:gd name="T10" fmla="*/ 14 w 16"/>
                <a:gd name="T11" fmla="*/ 0 h 32"/>
                <a:gd name="T12" fmla="*/ 16 w 16"/>
                <a:gd name="T13" fmla="*/ 2 h 32"/>
                <a:gd name="T14" fmla="*/ 16 w 16"/>
                <a:gd name="T15" fmla="*/ 30 h 32"/>
                <a:gd name="T16" fmla="*/ 14 w 16"/>
                <a:gd name="T17" fmla="*/ 32 h 32"/>
                <a:gd name="T18" fmla="*/ 4 w 16"/>
                <a:gd name="T19" fmla="*/ 28 h 32"/>
                <a:gd name="T20" fmla="*/ 12 w 16"/>
                <a:gd name="T21" fmla="*/ 28 h 32"/>
                <a:gd name="T22" fmla="*/ 12 w 16"/>
                <a:gd name="T23" fmla="*/ 4 h 32"/>
                <a:gd name="T24" fmla="*/ 4 w 16"/>
                <a:gd name="T25" fmla="*/ 4 h 32"/>
                <a:gd name="T26" fmla="*/ 4 w 16"/>
                <a:gd name="T27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2">
                  <a:moveTo>
                    <a:pt x="14" y="32"/>
                  </a:move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1"/>
                    <a:pt x="15" y="32"/>
                    <a:pt x="14" y="32"/>
                  </a:cubicBezTo>
                  <a:close/>
                  <a:moveTo>
                    <a:pt x="4" y="28"/>
                  </a:moveTo>
                  <a:cubicBezTo>
                    <a:pt x="12" y="28"/>
                    <a:pt x="12" y="28"/>
                    <a:pt x="12" y="2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1231">
              <a:extLst>
                <a:ext uri="{FF2B5EF4-FFF2-40B4-BE49-F238E27FC236}">
                  <a16:creationId xmlns:a16="http://schemas.microsoft.com/office/drawing/2014/main" id="{A92FC54E-2F0A-4E61-958F-454411CA5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7263" y="4511675"/>
              <a:ext cx="60325" cy="179388"/>
            </a:xfrm>
            <a:custGeom>
              <a:avLst/>
              <a:gdLst>
                <a:gd name="T0" fmla="*/ 14 w 16"/>
                <a:gd name="T1" fmla="*/ 48 h 48"/>
                <a:gd name="T2" fmla="*/ 2 w 16"/>
                <a:gd name="T3" fmla="*/ 48 h 48"/>
                <a:gd name="T4" fmla="*/ 0 w 16"/>
                <a:gd name="T5" fmla="*/ 46 h 48"/>
                <a:gd name="T6" fmla="*/ 0 w 16"/>
                <a:gd name="T7" fmla="*/ 2 h 48"/>
                <a:gd name="T8" fmla="*/ 2 w 16"/>
                <a:gd name="T9" fmla="*/ 0 h 48"/>
                <a:gd name="T10" fmla="*/ 14 w 16"/>
                <a:gd name="T11" fmla="*/ 0 h 48"/>
                <a:gd name="T12" fmla="*/ 16 w 16"/>
                <a:gd name="T13" fmla="*/ 2 h 48"/>
                <a:gd name="T14" fmla="*/ 16 w 16"/>
                <a:gd name="T15" fmla="*/ 46 h 48"/>
                <a:gd name="T16" fmla="*/ 14 w 16"/>
                <a:gd name="T17" fmla="*/ 48 h 48"/>
                <a:gd name="T18" fmla="*/ 4 w 16"/>
                <a:gd name="T19" fmla="*/ 44 h 48"/>
                <a:gd name="T20" fmla="*/ 12 w 16"/>
                <a:gd name="T21" fmla="*/ 44 h 48"/>
                <a:gd name="T22" fmla="*/ 12 w 16"/>
                <a:gd name="T23" fmla="*/ 4 h 48"/>
                <a:gd name="T24" fmla="*/ 4 w 16"/>
                <a:gd name="T25" fmla="*/ 4 h 48"/>
                <a:gd name="T26" fmla="*/ 4 w 16"/>
                <a:gd name="T27" fmla="*/ 4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48">
                  <a:moveTo>
                    <a:pt x="14" y="48"/>
                  </a:move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0" y="47"/>
                    <a:pt x="0" y="4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5" y="48"/>
                    <a:pt x="14" y="48"/>
                  </a:cubicBezTo>
                  <a:close/>
                  <a:moveTo>
                    <a:pt x="4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1232">
              <a:extLst>
                <a:ext uri="{FF2B5EF4-FFF2-40B4-BE49-F238E27FC236}">
                  <a16:creationId xmlns:a16="http://schemas.microsoft.com/office/drawing/2014/main" id="{6B7F42C4-7E2A-47D1-B7A1-AD9E37FEC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775" y="4451350"/>
              <a:ext cx="60325" cy="239713"/>
            </a:xfrm>
            <a:custGeom>
              <a:avLst/>
              <a:gdLst>
                <a:gd name="T0" fmla="*/ 14 w 16"/>
                <a:gd name="T1" fmla="*/ 64 h 64"/>
                <a:gd name="T2" fmla="*/ 2 w 16"/>
                <a:gd name="T3" fmla="*/ 64 h 64"/>
                <a:gd name="T4" fmla="*/ 0 w 16"/>
                <a:gd name="T5" fmla="*/ 62 h 64"/>
                <a:gd name="T6" fmla="*/ 0 w 16"/>
                <a:gd name="T7" fmla="*/ 2 h 64"/>
                <a:gd name="T8" fmla="*/ 2 w 16"/>
                <a:gd name="T9" fmla="*/ 0 h 64"/>
                <a:gd name="T10" fmla="*/ 14 w 16"/>
                <a:gd name="T11" fmla="*/ 0 h 64"/>
                <a:gd name="T12" fmla="*/ 16 w 16"/>
                <a:gd name="T13" fmla="*/ 2 h 64"/>
                <a:gd name="T14" fmla="*/ 16 w 16"/>
                <a:gd name="T15" fmla="*/ 62 h 64"/>
                <a:gd name="T16" fmla="*/ 14 w 16"/>
                <a:gd name="T17" fmla="*/ 64 h 64"/>
                <a:gd name="T18" fmla="*/ 4 w 16"/>
                <a:gd name="T19" fmla="*/ 60 h 64"/>
                <a:gd name="T20" fmla="*/ 12 w 16"/>
                <a:gd name="T21" fmla="*/ 60 h 64"/>
                <a:gd name="T22" fmla="*/ 12 w 16"/>
                <a:gd name="T23" fmla="*/ 4 h 64"/>
                <a:gd name="T24" fmla="*/ 4 w 16"/>
                <a:gd name="T25" fmla="*/ 4 h 64"/>
                <a:gd name="T26" fmla="*/ 4 w 16"/>
                <a:gd name="T2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64">
                  <a:moveTo>
                    <a:pt x="14" y="64"/>
                  </a:move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3"/>
                    <a:pt x="15" y="64"/>
                    <a:pt x="14" y="64"/>
                  </a:cubicBezTo>
                  <a:close/>
                  <a:moveTo>
                    <a:pt x="4" y="60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1233">
              <a:extLst>
                <a:ext uri="{FF2B5EF4-FFF2-40B4-BE49-F238E27FC236}">
                  <a16:creationId xmlns:a16="http://schemas.microsoft.com/office/drawing/2014/main" id="{95256460-8C22-46C3-BF4E-3560F0486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4346575"/>
              <a:ext cx="285750" cy="195263"/>
            </a:xfrm>
            <a:custGeom>
              <a:avLst/>
              <a:gdLst>
                <a:gd name="T0" fmla="*/ 74 w 76"/>
                <a:gd name="T1" fmla="*/ 52 h 52"/>
                <a:gd name="T2" fmla="*/ 73 w 76"/>
                <a:gd name="T3" fmla="*/ 52 h 52"/>
                <a:gd name="T4" fmla="*/ 1 w 76"/>
                <a:gd name="T5" fmla="*/ 4 h 52"/>
                <a:gd name="T6" fmla="*/ 0 w 76"/>
                <a:gd name="T7" fmla="*/ 1 h 52"/>
                <a:gd name="T8" fmla="*/ 3 w 76"/>
                <a:gd name="T9" fmla="*/ 0 h 52"/>
                <a:gd name="T10" fmla="*/ 75 w 76"/>
                <a:gd name="T11" fmla="*/ 48 h 52"/>
                <a:gd name="T12" fmla="*/ 76 w 76"/>
                <a:gd name="T13" fmla="*/ 51 h 52"/>
                <a:gd name="T14" fmla="*/ 74 w 76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52">
                  <a:moveTo>
                    <a:pt x="74" y="52"/>
                  </a:moveTo>
                  <a:cubicBezTo>
                    <a:pt x="74" y="52"/>
                    <a:pt x="73" y="52"/>
                    <a:pt x="73" y="5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6" y="49"/>
                    <a:pt x="76" y="50"/>
                    <a:pt x="76" y="51"/>
                  </a:cubicBezTo>
                  <a:cubicBezTo>
                    <a:pt x="75" y="52"/>
                    <a:pt x="75" y="52"/>
                    <a:pt x="74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1234">
              <a:extLst>
                <a:ext uri="{FF2B5EF4-FFF2-40B4-BE49-F238E27FC236}">
                  <a16:creationId xmlns:a16="http://schemas.microsoft.com/office/drawing/2014/main" id="{FF33BF06-C362-4821-AF10-129B3DFE8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0138" y="4465638"/>
              <a:ext cx="74613" cy="82550"/>
            </a:xfrm>
            <a:custGeom>
              <a:avLst/>
              <a:gdLst>
                <a:gd name="T0" fmla="*/ 2 w 20"/>
                <a:gd name="T1" fmla="*/ 22 h 22"/>
                <a:gd name="T2" fmla="*/ 0 w 20"/>
                <a:gd name="T3" fmla="*/ 20 h 22"/>
                <a:gd name="T4" fmla="*/ 2 w 20"/>
                <a:gd name="T5" fmla="*/ 18 h 22"/>
                <a:gd name="T6" fmla="*/ 16 w 20"/>
                <a:gd name="T7" fmla="*/ 16 h 22"/>
                <a:gd name="T8" fmla="*/ 14 w 20"/>
                <a:gd name="T9" fmla="*/ 2 h 22"/>
                <a:gd name="T10" fmla="*/ 16 w 20"/>
                <a:gd name="T11" fmla="*/ 0 h 22"/>
                <a:gd name="T12" fmla="*/ 18 w 20"/>
                <a:gd name="T13" fmla="*/ 2 h 22"/>
                <a:gd name="T14" fmla="*/ 20 w 20"/>
                <a:gd name="T15" fmla="*/ 18 h 22"/>
                <a:gd name="T16" fmla="*/ 18 w 20"/>
                <a:gd name="T17" fmla="*/ 20 h 22"/>
                <a:gd name="T18" fmla="*/ 2 w 20"/>
                <a:gd name="T19" fmla="*/ 22 h 22"/>
                <a:gd name="T20" fmla="*/ 2 w 20"/>
                <a:gd name="T2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">
                  <a:moveTo>
                    <a:pt x="2" y="22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84FED26-F571-45F0-A37D-C97374A97747}"/>
              </a:ext>
            </a:extLst>
          </p:cNvPr>
          <p:cNvGrpSpPr/>
          <p:nvPr/>
        </p:nvGrpSpPr>
        <p:grpSpPr>
          <a:xfrm>
            <a:off x="6492613" y="4026535"/>
            <a:ext cx="284048" cy="285357"/>
            <a:chOff x="7005638" y="3617914"/>
            <a:chExt cx="344488" cy="346075"/>
          </a:xfrm>
        </p:grpSpPr>
        <p:sp>
          <p:nvSpPr>
            <p:cNvPr id="73" name="Oval 174">
              <a:extLst>
                <a:ext uri="{FF2B5EF4-FFF2-40B4-BE49-F238E27FC236}">
                  <a16:creationId xmlns:a16="http://schemas.microsoft.com/office/drawing/2014/main" id="{70170B9B-4D53-40F8-9FC7-5C638987E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3617914"/>
              <a:ext cx="90488" cy="88900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175">
              <a:extLst>
                <a:ext uri="{FF2B5EF4-FFF2-40B4-BE49-F238E27FC236}">
                  <a16:creationId xmlns:a16="http://schemas.microsoft.com/office/drawing/2014/main" id="{26F600E8-3C19-4547-82B3-636F4601B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413" y="3736976"/>
              <a:ext cx="134938" cy="150813"/>
            </a:xfrm>
            <a:custGeom>
              <a:avLst/>
              <a:gdLst>
                <a:gd name="T0" fmla="*/ 36 w 36"/>
                <a:gd name="T1" fmla="*/ 0 h 40"/>
                <a:gd name="T2" fmla="*/ 0 w 36"/>
                <a:gd name="T3" fmla="*/ 0 h 40"/>
                <a:gd name="T4" fmla="*/ 12 w 36"/>
                <a:gd name="T5" fmla="*/ 23 h 40"/>
                <a:gd name="T6" fmla="*/ 12 w 36"/>
                <a:gd name="T7" fmla="*/ 40 h 40"/>
                <a:gd name="T8" fmla="*/ 24 w 36"/>
                <a:gd name="T9" fmla="*/ 40 h 40"/>
                <a:gd name="T10" fmla="*/ 24 w 36"/>
                <a:gd name="T11" fmla="*/ 23 h 40"/>
                <a:gd name="T12" fmla="*/ 36 w 3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0"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4" y="20"/>
                    <a:pt x="12" y="23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32" y="20"/>
                    <a:pt x="36" y="8"/>
                    <a:pt x="36" y="0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176">
              <a:extLst>
                <a:ext uri="{FF2B5EF4-FFF2-40B4-BE49-F238E27FC236}">
                  <a16:creationId xmlns:a16="http://schemas.microsoft.com/office/drawing/2014/main" id="{C380F18F-2EB6-4006-AA23-035C86F1F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819526"/>
              <a:ext cx="142875" cy="114300"/>
            </a:xfrm>
            <a:custGeom>
              <a:avLst/>
              <a:gdLst>
                <a:gd name="T0" fmla="*/ 38 w 38"/>
                <a:gd name="T1" fmla="*/ 30 h 30"/>
                <a:gd name="T2" fmla="*/ 0 w 38"/>
                <a:gd name="T3" fmla="*/ 14 h 30"/>
                <a:gd name="T4" fmla="*/ 22 w 38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30">
                  <a:moveTo>
                    <a:pt x="38" y="30"/>
                  </a:moveTo>
                  <a:cubicBezTo>
                    <a:pt x="16" y="28"/>
                    <a:pt x="0" y="22"/>
                    <a:pt x="0" y="14"/>
                  </a:cubicBezTo>
                  <a:cubicBezTo>
                    <a:pt x="0" y="8"/>
                    <a:pt x="9" y="3"/>
                    <a:pt x="22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177">
              <a:extLst>
                <a:ext uri="{FF2B5EF4-FFF2-40B4-BE49-F238E27FC236}">
                  <a16:creationId xmlns:a16="http://schemas.microsoft.com/office/drawing/2014/main" id="{25375DC3-9C1C-4212-905A-BA1142E52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2963" y="3819526"/>
              <a:ext cx="157163" cy="114300"/>
            </a:xfrm>
            <a:custGeom>
              <a:avLst/>
              <a:gdLst>
                <a:gd name="T0" fmla="*/ 20 w 42"/>
                <a:gd name="T1" fmla="*/ 0 h 30"/>
                <a:gd name="T2" fmla="*/ 42 w 42"/>
                <a:gd name="T3" fmla="*/ 14 h 30"/>
                <a:gd name="T4" fmla="*/ 0 w 42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0">
                  <a:moveTo>
                    <a:pt x="20" y="0"/>
                  </a:moveTo>
                  <a:cubicBezTo>
                    <a:pt x="33" y="3"/>
                    <a:pt x="42" y="8"/>
                    <a:pt x="42" y="14"/>
                  </a:cubicBezTo>
                  <a:cubicBezTo>
                    <a:pt x="42" y="22"/>
                    <a:pt x="24" y="29"/>
                    <a:pt x="0" y="3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178">
              <a:extLst>
                <a:ext uri="{FF2B5EF4-FFF2-40B4-BE49-F238E27FC236}">
                  <a16:creationId xmlns:a16="http://schemas.microsoft.com/office/drawing/2014/main" id="{25A510DF-109B-4783-8947-CBDC4397D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538" y="3884614"/>
              <a:ext cx="53975" cy="79375"/>
            </a:xfrm>
            <a:custGeom>
              <a:avLst/>
              <a:gdLst>
                <a:gd name="T0" fmla="*/ 10 w 34"/>
                <a:gd name="T1" fmla="*/ 0 h 50"/>
                <a:gd name="T2" fmla="*/ 34 w 34"/>
                <a:gd name="T3" fmla="*/ 31 h 50"/>
                <a:gd name="T4" fmla="*/ 0 w 34"/>
                <a:gd name="T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50">
                  <a:moveTo>
                    <a:pt x="10" y="0"/>
                  </a:moveTo>
                  <a:lnTo>
                    <a:pt x="34" y="31"/>
                  </a:lnTo>
                  <a:lnTo>
                    <a:pt x="0" y="5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5C2E3FD5-EF86-4EA9-9D57-9C79F0C40E1E}"/>
              </a:ext>
            </a:extLst>
          </p:cNvPr>
          <p:cNvGrpSpPr/>
          <p:nvPr/>
        </p:nvGrpSpPr>
        <p:grpSpPr>
          <a:xfrm>
            <a:off x="1103902" y="3977096"/>
            <a:ext cx="348126" cy="384235"/>
            <a:chOff x="-2298700" y="2017713"/>
            <a:chExt cx="1193800" cy="1317626"/>
          </a:xfrm>
          <a:solidFill>
            <a:schemeClr val="bg1"/>
          </a:solidFill>
        </p:grpSpPr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4233F015-6263-43FD-8248-E8EDA12C9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98700" y="2017713"/>
              <a:ext cx="1193800" cy="1195388"/>
            </a:xfrm>
            <a:custGeom>
              <a:avLst/>
              <a:gdLst>
                <a:gd name="T0" fmla="*/ 838 w 1862"/>
                <a:gd name="T1" fmla="*/ 1071 h 1862"/>
                <a:gd name="T2" fmla="*/ 1424 w 1862"/>
                <a:gd name="T3" fmla="*/ 503 h 1862"/>
                <a:gd name="T4" fmla="*/ 1434 w 1862"/>
                <a:gd name="T5" fmla="*/ 493 h 1862"/>
                <a:gd name="T6" fmla="*/ 1625 w 1862"/>
                <a:gd name="T7" fmla="*/ 405 h 1862"/>
                <a:gd name="T8" fmla="*/ 1862 w 1862"/>
                <a:gd name="T9" fmla="*/ 233 h 1862"/>
                <a:gd name="T10" fmla="*/ 1801 w 1862"/>
                <a:gd name="T11" fmla="*/ 126 h 1862"/>
                <a:gd name="T12" fmla="*/ 1736 w 1862"/>
                <a:gd name="T13" fmla="*/ 61 h 1862"/>
                <a:gd name="T14" fmla="*/ 1629 w 1862"/>
                <a:gd name="T15" fmla="*/ 0 h 1862"/>
                <a:gd name="T16" fmla="*/ 1457 w 1862"/>
                <a:gd name="T17" fmla="*/ 237 h 1862"/>
                <a:gd name="T18" fmla="*/ 1396 w 1862"/>
                <a:gd name="T19" fmla="*/ 400 h 1862"/>
                <a:gd name="T20" fmla="*/ 884 w 1862"/>
                <a:gd name="T21" fmla="*/ 186 h 1862"/>
                <a:gd name="T22" fmla="*/ 838 w 1862"/>
                <a:gd name="T23" fmla="*/ 47 h 1862"/>
                <a:gd name="T24" fmla="*/ 791 w 1862"/>
                <a:gd name="T25" fmla="*/ 186 h 1862"/>
                <a:gd name="T26" fmla="*/ 0 w 1862"/>
                <a:gd name="T27" fmla="*/ 1024 h 1862"/>
                <a:gd name="T28" fmla="*/ 1676 w 1862"/>
                <a:gd name="T29" fmla="*/ 1024 h 1862"/>
                <a:gd name="T30" fmla="*/ 1485 w 1862"/>
                <a:gd name="T31" fmla="*/ 568 h 1862"/>
                <a:gd name="T32" fmla="*/ 1583 w 1862"/>
                <a:gd name="T33" fmla="*/ 1024 h 1862"/>
                <a:gd name="T34" fmla="*/ 93 w 1862"/>
                <a:gd name="T35" fmla="*/ 1024 h 1862"/>
                <a:gd name="T36" fmla="*/ 1331 w 1862"/>
                <a:gd name="T37" fmla="*/ 465 h 1862"/>
                <a:gd name="T38" fmla="*/ 838 w 1862"/>
                <a:gd name="T39" fmla="*/ 465 h 1862"/>
                <a:gd name="T40" fmla="*/ 838 w 1862"/>
                <a:gd name="T41" fmla="*/ 1583 h 1862"/>
                <a:gd name="T42" fmla="*/ 1336 w 1862"/>
                <a:gd name="T43" fmla="*/ 768 h 1862"/>
                <a:gd name="T44" fmla="*/ 1257 w 1862"/>
                <a:gd name="T45" fmla="*/ 810 h 1862"/>
                <a:gd name="T46" fmla="*/ 843 w 1862"/>
                <a:gd name="T47" fmla="*/ 1485 h 1862"/>
                <a:gd name="T48" fmla="*/ 843 w 1862"/>
                <a:gd name="T49" fmla="*/ 554 h 1862"/>
                <a:gd name="T50" fmla="*/ 1001 w 1862"/>
                <a:gd name="T51" fmla="*/ 796 h 1862"/>
                <a:gd name="T52" fmla="*/ 559 w 1862"/>
                <a:gd name="T53" fmla="*/ 1024 h 1862"/>
                <a:gd name="T54" fmla="*/ 1117 w 1862"/>
                <a:gd name="T55" fmla="*/ 1024 h 1862"/>
                <a:gd name="T56" fmla="*/ 1024 w 1862"/>
                <a:gd name="T57" fmla="*/ 1024 h 1862"/>
                <a:gd name="T58" fmla="*/ 652 w 1862"/>
                <a:gd name="T59" fmla="*/ 1024 h 1862"/>
                <a:gd name="T60" fmla="*/ 931 w 1862"/>
                <a:gd name="T61" fmla="*/ 866 h 1862"/>
                <a:gd name="T62" fmla="*/ 805 w 1862"/>
                <a:gd name="T63" fmla="*/ 1057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62" h="1862">
                  <a:moveTo>
                    <a:pt x="805" y="1057"/>
                  </a:moveTo>
                  <a:cubicBezTo>
                    <a:pt x="815" y="1066"/>
                    <a:pt x="829" y="1071"/>
                    <a:pt x="838" y="1071"/>
                  </a:cubicBezTo>
                  <a:cubicBezTo>
                    <a:pt x="847" y="1071"/>
                    <a:pt x="861" y="1066"/>
                    <a:pt x="870" y="1057"/>
                  </a:cubicBezTo>
                  <a:cubicBezTo>
                    <a:pt x="1424" y="503"/>
                    <a:pt x="1424" y="503"/>
                    <a:pt x="1424" y="503"/>
                  </a:cubicBezTo>
                  <a:cubicBezTo>
                    <a:pt x="1424" y="503"/>
                    <a:pt x="1429" y="503"/>
                    <a:pt x="1429" y="498"/>
                  </a:cubicBezTo>
                  <a:cubicBezTo>
                    <a:pt x="1434" y="493"/>
                    <a:pt x="1434" y="493"/>
                    <a:pt x="1434" y="493"/>
                  </a:cubicBezTo>
                  <a:cubicBezTo>
                    <a:pt x="1541" y="386"/>
                    <a:pt x="1541" y="386"/>
                    <a:pt x="1541" y="386"/>
                  </a:cubicBezTo>
                  <a:cubicBezTo>
                    <a:pt x="1625" y="405"/>
                    <a:pt x="1625" y="405"/>
                    <a:pt x="1625" y="405"/>
                  </a:cubicBezTo>
                  <a:cubicBezTo>
                    <a:pt x="1657" y="414"/>
                    <a:pt x="1690" y="405"/>
                    <a:pt x="1713" y="382"/>
                  </a:cubicBezTo>
                  <a:cubicBezTo>
                    <a:pt x="1862" y="233"/>
                    <a:pt x="1862" y="233"/>
                    <a:pt x="1862" y="233"/>
                  </a:cubicBezTo>
                  <a:cubicBezTo>
                    <a:pt x="1727" y="200"/>
                    <a:pt x="1727" y="200"/>
                    <a:pt x="1727" y="200"/>
                  </a:cubicBezTo>
                  <a:cubicBezTo>
                    <a:pt x="1801" y="126"/>
                    <a:pt x="1801" y="126"/>
                    <a:pt x="1801" y="126"/>
                  </a:cubicBezTo>
                  <a:cubicBezTo>
                    <a:pt x="1820" y="107"/>
                    <a:pt x="1820" y="79"/>
                    <a:pt x="1801" y="61"/>
                  </a:cubicBezTo>
                  <a:cubicBezTo>
                    <a:pt x="1783" y="42"/>
                    <a:pt x="1755" y="42"/>
                    <a:pt x="1736" y="61"/>
                  </a:cubicBezTo>
                  <a:cubicBezTo>
                    <a:pt x="1662" y="135"/>
                    <a:pt x="1662" y="135"/>
                    <a:pt x="1662" y="135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480" y="149"/>
                    <a:pt x="1480" y="149"/>
                    <a:pt x="1480" y="149"/>
                  </a:cubicBezTo>
                  <a:cubicBezTo>
                    <a:pt x="1457" y="172"/>
                    <a:pt x="1448" y="205"/>
                    <a:pt x="1457" y="237"/>
                  </a:cubicBezTo>
                  <a:cubicBezTo>
                    <a:pt x="1476" y="321"/>
                    <a:pt x="1476" y="321"/>
                    <a:pt x="1476" y="321"/>
                  </a:cubicBezTo>
                  <a:cubicBezTo>
                    <a:pt x="1396" y="400"/>
                    <a:pt x="1396" y="400"/>
                    <a:pt x="1396" y="400"/>
                  </a:cubicBezTo>
                  <a:cubicBezTo>
                    <a:pt x="1252" y="275"/>
                    <a:pt x="1075" y="200"/>
                    <a:pt x="884" y="186"/>
                  </a:cubicBezTo>
                  <a:cubicBezTo>
                    <a:pt x="884" y="186"/>
                    <a:pt x="884" y="186"/>
                    <a:pt x="884" y="186"/>
                  </a:cubicBezTo>
                  <a:cubicBezTo>
                    <a:pt x="884" y="93"/>
                    <a:pt x="884" y="93"/>
                    <a:pt x="884" y="93"/>
                  </a:cubicBezTo>
                  <a:cubicBezTo>
                    <a:pt x="884" y="65"/>
                    <a:pt x="866" y="47"/>
                    <a:pt x="838" y="47"/>
                  </a:cubicBezTo>
                  <a:cubicBezTo>
                    <a:pt x="810" y="47"/>
                    <a:pt x="791" y="65"/>
                    <a:pt x="791" y="93"/>
                  </a:cubicBezTo>
                  <a:cubicBezTo>
                    <a:pt x="791" y="186"/>
                    <a:pt x="791" y="186"/>
                    <a:pt x="791" y="186"/>
                  </a:cubicBezTo>
                  <a:cubicBezTo>
                    <a:pt x="791" y="186"/>
                    <a:pt x="791" y="186"/>
                    <a:pt x="791" y="191"/>
                  </a:cubicBezTo>
                  <a:cubicBezTo>
                    <a:pt x="349" y="214"/>
                    <a:pt x="0" y="577"/>
                    <a:pt x="0" y="1024"/>
                  </a:cubicBezTo>
                  <a:cubicBezTo>
                    <a:pt x="0" y="1485"/>
                    <a:pt x="377" y="1862"/>
                    <a:pt x="838" y="1862"/>
                  </a:cubicBezTo>
                  <a:cubicBezTo>
                    <a:pt x="1299" y="1862"/>
                    <a:pt x="1676" y="1485"/>
                    <a:pt x="1676" y="1024"/>
                  </a:cubicBezTo>
                  <a:cubicBezTo>
                    <a:pt x="1676" y="866"/>
                    <a:pt x="1634" y="712"/>
                    <a:pt x="1550" y="582"/>
                  </a:cubicBezTo>
                  <a:cubicBezTo>
                    <a:pt x="1536" y="559"/>
                    <a:pt x="1508" y="554"/>
                    <a:pt x="1485" y="568"/>
                  </a:cubicBezTo>
                  <a:cubicBezTo>
                    <a:pt x="1462" y="582"/>
                    <a:pt x="1457" y="610"/>
                    <a:pt x="1471" y="633"/>
                  </a:cubicBezTo>
                  <a:cubicBezTo>
                    <a:pt x="1545" y="749"/>
                    <a:pt x="1583" y="884"/>
                    <a:pt x="1583" y="1024"/>
                  </a:cubicBezTo>
                  <a:cubicBezTo>
                    <a:pt x="1583" y="1434"/>
                    <a:pt x="1248" y="1769"/>
                    <a:pt x="838" y="1769"/>
                  </a:cubicBezTo>
                  <a:cubicBezTo>
                    <a:pt x="428" y="1769"/>
                    <a:pt x="93" y="1434"/>
                    <a:pt x="93" y="1024"/>
                  </a:cubicBezTo>
                  <a:cubicBezTo>
                    <a:pt x="93" y="614"/>
                    <a:pt x="428" y="279"/>
                    <a:pt x="838" y="279"/>
                  </a:cubicBezTo>
                  <a:cubicBezTo>
                    <a:pt x="1019" y="279"/>
                    <a:pt x="1192" y="344"/>
                    <a:pt x="1331" y="465"/>
                  </a:cubicBezTo>
                  <a:cubicBezTo>
                    <a:pt x="1201" y="596"/>
                    <a:pt x="1201" y="596"/>
                    <a:pt x="1201" y="596"/>
                  </a:cubicBezTo>
                  <a:cubicBezTo>
                    <a:pt x="1099" y="512"/>
                    <a:pt x="973" y="465"/>
                    <a:pt x="838" y="465"/>
                  </a:cubicBezTo>
                  <a:cubicBezTo>
                    <a:pt x="531" y="465"/>
                    <a:pt x="279" y="717"/>
                    <a:pt x="279" y="1024"/>
                  </a:cubicBezTo>
                  <a:cubicBezTo>
                    <a:pt x="279" y="1331"/>
                    <a:pt x="531" y="1583"/>
                    <a:pt x="838" y="1583"/>
                  </a:cubicBezTo>
                  <a:cubicBezTo>
                    <a:pt x="1145" y="1583"/>
                    <a:pt x="1396" y="1331"/>
                    <a:pt x="1396" y="1024"/>
                  </a:cubicBezTo>
                  <a:cubicBezTo>
                    <a:pt x="1396" y="936"/>
                    <a:pt x="1378" y="847"/>
                    <a:pt x="1336" y="768"/>
                  </a:cubicBezTo>
                  <a:cubicBezTo>
                    <a:pt x="1322" y="745"/>
                    <a:pt x="1294" y="735"/>
                    <a:pt x="1275" y="749"/>
                  </a:cubicBezTo>
                  <a:cubicBezTo>
                    <a:pt x="1252" y="763"/>
                    <a:pt x="1243" y="791"/>
                    <a:pt x="1257" y="810"/>
                  </a:cubicBezTo>
                  <a:cubicBezTo>
                    <a:pt x="1289" y="875"/>
                    <a:pt x="1308" y="945"/>
                    <a:pt x="1308" y="1019"/>
                  </a:cubicBezTo>
                  <a:cubicBezTo>
                    <a:pt x="1308" y="1275"/>
                    <a:pt x="1099" y="1485"/>
                    <a:pt x="843" y="1485"/>
                  </a:cubicBezTo>
                  <a:cubicBezTo>
                    <a:pt x="587" y="1485"/>
                    <a:pt x="377" y="1275"/>
                    <a:pt x="377" y="1019"/>
                  </a:cubicBezTo>
                  <a:cubicBezTo>
                    <a:pt x="377" y="763"/>
                    <a:pt x="587" y="554"/>
                    <a:pt x="843" y="554"/>
                  </a:cubicBezTo>
                  <a:cubicBezTo>
                    <a:pt x="950" y="554"/>
                    <a:pt x="1052" y="591"/>
                    <a:pt x="1136" y="661"/>
                  </a:cubicBezTo>
                  <a:cubicBezTo>
                    <a:pt x="1001" y="796"/>
                    <a:pt x="1001" y="796"/>
                    <a:pt x="1001" y="796"/>
                  </a:cubicBezTo>
                  <a:cubicBezTo>
                    <a:pt x="954" y="763"/>
                    <a:pt x="898" y="745"/>
                    <a:pt x="838" y="745"/>
                  </a:cubicBezTo>
                  <a:cubicBezTo>
                    <a:pt x="684" y="745"/>
                    <a:pt x="559" y="870"/>
                    <a:pt x="559" y="1024"/>
                  </a:cubicBezTo>
                  <a:cubicBezTo>
                    <a:pt x="559" y="1178"/>
                    <a:pt x="684" y="1303"/>
                    <a:pt x="838" y="1303"/>
                  </a:cubicBezTo>
                  <a:cubicBezTo>
                    <a:pt x="992" y="1303"/>
                    <a:pt x="1117" y="1178"/>
                    <a:pt x="1117" y="1024"/>
                  </a:cubicBezTo>
                  <a:cubicBezTo>
                    <a:pt x="1117" y="996"/>
                    <a:pt x="1099" y="977"/>
                    <a:pt x="1071" y="977"/>
                  </a:cubicBezTo>
                  <a:cubicBezTo>
                    <a:pt x="1043" y="977"/>
                    <a:pt x="1024" y="996"/>
                    <a:pt x="1024" y="1024"/>
                  </a:cubicBezTo>
                  <a:cubicBezTo>
                    <a:pt x="1024" y="1126"/>
                    <a:pt x="940" y="1210"/>
                    <a:pt x="838" y="1210"/>
                  </a:cubicBezTo>
                  <a:cubicBezTo>
                    <a:pt x="736" y="1210"/>
                    <a:pt x="652" y="1126"/>
                    <a:pt x="652" y="1024"/>
                  </a:cubicBezTo>
                  <a:cubicBezTo>
                    <a:pt x="652" y="922"/>
                    <a:pt x="736" y="838"/>
                    <a:pt x="838" y="838"/>
                  </a:cubicBezTo>
                  <a:cubicBezTo>
                    <a:pt x="870" y="838"/>
                    <a:pt x="903" y="847"/>
                    <a:pt x="931" y="866"/>
                  </a:cubicBezTo>
                  <a:cubicBezTo>
                    <a:pt x="805" y="991"/>
                    <a:pt x="805" y="991"/>
                    <a:pt x="805" y="991"/>
                  </a:cubicBezTo>
                  <a:cubicBezTo>
                    <a:pt x="787" y="1010"/>
                    <a:pt x="787" y="1038"/>
                    <a:pt x="805" y="10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74A05C86-3AE3-4EAF-9920-5C975CEE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52650" y="3149601"/>
              <a:ext cx="125413" cy="182563"/>
            </a:xfrm>
            <a:custGeom>
              <a:avLst/>
              <a:gdLst>
                <a:gd name="T0" fmla="*/ 163 w 196"/>
                <a:gd name="T1" fmla="*/ 9 h 284"/>
                <a:gd name="T2" fmla="*/ 103 w 196"/>
                <a:gd name="T3" fmla="*/ 28 h 284"/>
                <a:gd name="T4" fmla="*/ 9 w 196"/>
                <a:gd name="T5" fmla="*/ 214 h 284"/>
                <a:gd name="T6" fmla="*/ 28 w 196"/>
                <a:gd name="T7" fmla="*/ 275 h 284"/>
                <a:gd name="T8" fmla="*/ 51 w 196"/>
                <a:gd name="T9" fmla="*/ 284 h 284"/>
                <a:gd name="T10" fmla="*/ 93 w 196"/>
                <a:gd name="T11" fmla="*/ 256 h 284"/>
                <a:gd name="T12" fmla="*/ 186 w 196"/>
                <a:gd name="T13" fmla="*/ 70 h 284"/>
                <a:gd name="T14" fmla="*/ 163 w 196"/>
                <a:gd name="T15" fmla="*/ 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284">
                  <a:moveTo>
                    <a:pt x="163" y="9"/>
                  </a:moveTo>
                  <a:cubicBezTo>
                    <a:pt x="140" y="0"/>
                    <a:pt x="112" y="9"/>
                    <a:pt x="103" y="28"/>
                  </a:cubicBezTo>
                  <a:cubicBezTo>
                    <a:pt x="9" y="214"/>
                    <a:pt x="9" y="214"/>
                    <a:pt x="9" y="214"/>
                  </a:cubicBezTo>
                  <a:cubicBezTo>
                    <a:pt x="0" y="237"/>
                    <a:pt x="9" y="265"/>
                    <a:pt x="28" y="275"/>
                  </a:cubicBezTo>
                  <a:cubicBezTo>
                    <a:pt x="37" y="284"/>
                    <a:pt x="42" y="284"/>
                    <a:pt x="51" y="284"/>
                  </a:cubicBezTo>
                  <a:cubicBezTo>
                    <a:pt x="70" y="284"/>
                    <a:pt x="84" y="275"/>
                    <a:pt x="93" y="256"/>
                  </a:cubicBezTo>
                  <a:cubicBezTo>
                    <a:pt x="186" y="70"/>
                    <a:pt x="186" y="70"/>
                    <a:pt x="186" y="70"/>
                  </a:cubicBezTo>
                  <a:cubicBezTo>
                    <a:pt x="196" y="51"/>
                    <a:pt x="186" y="23"/>
                    <a:pt x="16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5F703AC6-9293-4A0C-B8B3-21EB231DB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97013" y="3149601"/>
              <a:ext cx="128588" cy="185738"/>
            </a:xfrm>
            <a:custGeom>
              <a:avLst/>
              <a:gdLst>
                <a:gd name="T0" fmla="*/ 93 w 200"/>
                <a:gd name="T1" fmla="*/ 33 h 289"/>
                <a:gd name="T2" fmla="*/ 33 w 200"/>
                <a:gd name="T3" fmla="*/ 14 h 289"/>
                <a:gd name="T4" fmla="*/ 14 w 200"/>
                <a:gd name="T5" fmla="*/ 75 h 289"/>
                <a:gd name="T6" fmla="*/ 107 w 200"/>
                <a:gd name="T7" fmla="*/ 261 h 289"/>
                <a:gd name="T8" fmla="*/ 149 w 200"/>
                <a:gd name="T9" fmla="*/ 289 h 289"/>
                <a:gd name="T10" fmla="*/ 168 w 200"/>
                <a:gd name="T11" fmla="*/ 284 h 289"/>
                <a:gd name="T12" fmla="*/ 186 w 200"/>
                <a:gd name="T13" fmla="*/ 223 h 289"/>
                <a:gd name="T14" fmla="*/ 93 w 200"/>
                <a:gd name="T15" fmla="*/ 3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0" h="289">
                  <a:moveTo>
                    <a:pt x="93" y="33"/>
                  </a:moveTo>
                  <a:cubicBezTo>
                    <a:pt x="84" y="9"/>
                    <a:pt x="56" y="0"/>
                    <a:pt x="33" y="14"/>
                  </a:cubicBezTo>
                  <a:cubicBezTo>
                    <a:pt x="9" y="23"/>
                    <a:pt x="0" y="51"/>
                    <a:pt x="14" y="75"/>
                  </a:cubicBezTo>
                  <a:cubicBezTo>
                    <a:pt x="107" y="261"/>
                    <a:pt x="107" y="261"/>
                    <a:pt x="107" y="261"/>
                  </a:cubicBezTo>
                  <a:cubicBezTo>
                    <a:pt x="117" y="279"/>
                    <a:pt x="130" y="289"/>
                    <a:pt x="149" y="289"/>
                  </a:cubicBezTo>
                  <a:cubicBezTo>
                    <a:pt x="158" y="289"/>
                    <a:pt x="163" y="289"/>
                    <a:pt x="168" y="284"/>
                  </a:cubicBezTo>
                  <a:cubicBezTo>
                    <a:pt x="191" y="275"/>
                    <a:pt x="200" y="247"/>
                    <a:pt x="186" y="223"/>
                  </a:cubicBezTo>
                  <a:lnTo>
                    <a:pt x="93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FFA03A5-B145-4061-9E4D-79DBE1B271FC}"/>
              </a:ext>
            </a:extLst>
          </p:cNvPr>
          <p:cNvGrpSpPr/>
          <p:nvPr/>
        </p:nvGrpSpPr>
        <p:grpSpPr>
          <a:xfrm>
            <a:off x="1148395" y="2103567"/>
            <a:ext cx="259140" cy="260334"/>
            <a:chOff x="9169400" y="3255963"/>
            <a:chExt cx="344488" cy="346075"/>
          </a:xfrm>
        </p:grpSpPr>
        <p:sp>
          <p:nvSpPr>
            <p:cNvPr id="87" name="Freeform 115">
              <a:extLst>
                <a:ext uri="{FF2B5EF4-FFF2-40B4-BE49-F238E27FC236}">
                  <a16:creationId xmlns:a16="http://schemas.microsoft.com/office/drawing/2014/main" id="{8181EDB3-AC02-4626-8EFC-52F6C37ED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9400" y="3255963"/>
              <a:ext cx="344488" cy="346075"/>
            </a:xfrm>
            <a:custGeom>
              <a:avLst/>
              <a:gdLst>
                <a:gd name="T0" fmla="*/ 64 w 92"/>
                <a:gd name="T1" fmla="*/ 17 h 92"/>
                <a:gd name="T2" fmla="*/ 52 w 92"/>
                <a:gd name="T3" fmla="*/ 13 h 92"/>
                <a:gd name="T4" fmla="*/ 52 w 92"/>
                <a:gd name="T5" fmla="*/ 0 h 92"/>
                <a:gd name="T6" fmla="*/ 40 w 92"/>
                <a:gd name="T7" fmla="*/ 0 h 92"/>
                <a:gd name="T8" fmla="*/ 40 w 92"/>
                <a:gd name="T9" fmla="*/ 13 h 92"/>
                <a:gd name="T10" fmla="*/ 28 w 92"/>
                <a:gd name="T11" fmla="*/ 17 h 92"/>
                <a:gd name="T12" fmla="*/ 19 w 92"/>
                <a:gd name="T13" fmla="*/ 8 h 92"/>
                <a:gd name="T14" fmla="*/ 8 w 92"/>
                <a:gd name="T15" fmla="*/ 19 h 92"/>
                <a:gd name="T16" fmla="*/ 17 w 92"/>
                <a:gd name="T17" fmla="*/ 28 h 92"/>
                <a:gd name="T18" fmla="*/ 13 w 92"/>
                <a:gd name="T19" fmla="*/ 40 h 92"/>
                <a:gd name="T20" fmla="*/ 0 w 92"/>
                <a:gd name="T21" fmla="*/ 40 h 92"/>
                <a:gd name="T22" fmla="*/ 0 w 92"/>
                <a:gd name="T23" fmla="*/ 52 h 92"/>
                <a:gd name="T24" fmla="*/ 13 w 92"/>
                <a:gd name="T25" fmla="*/ 52 h 92"/>
                <a:gd name="T26" fmla="*/ 17 w 92"/>
                <a:gd name="T27" fmla="*/ 64 h 92"/>
                <a:gd name="T28" fmla="*/ 8 w 92"/>
                <a:gd name="T29" fmla="*/ 73 h 92"/>
                <a:gd name="T30" fmla="*/ 19 w 92"/>
                <a:gd name="T31" fmla="*/ 84 h 92"/>
                <a:gd name="T32" fmla="*/ 28 w 92"/>
                <a:gd name="T33" fmla="*/ 75 h 92"/>
                <a:gd name="T34" fmla="*/ 40 w 92"/>
                <a:gd name="T35" fmla="*/ 79 h 92"/>
                <a:gd name="T36" fmla="*/ 40 w 92"/>
                <a:gd name="T37" fmla="*/ 92 h 92"/>
                <a:gd name="T38" fmla="*/ 52 w 92"/>
                <a:gd name="T39" fmla="*/ 92 h 92"/>
                <a:gd name="T40" fmla="*/ 52 w 92"/>
                <a:gd name="T41" fmla="*/ 79 h 92"/>
                <a:gd name="T42" fmla="*/ 64 w 92"/>
                <a:gd name="T43" fmla="*/ 75 h 92"/>
                <a:gd name="T44" fmla="*/ 73 w 92"/>
                <a:gd name="T45" fmla="*/ 84 h 92"/>
                <a:gd name="T46" fmla="*/ 84 w 92"/>
                <a:gd name="T47" fmla="*/ 73 h 92"/>
                <a:gd name="T48" fmla="*/ 75 w 92"/>
                <a:gd name="T49" fmla="*/ 64 h 92"/>
                <a:gd name="T50" fmla="*/ 79 w 92"/>
                <a:gd name="T51" fmla="*/ 52 h 92"/>
                <a:gd name="T52" fmla="*/ 92 w 92"/>
                <a:gd name="T53" fmla="*/ 52 h 92"/>
                <a:gd name="T54" fmla="*/ 92 w 92"/>
                <a:gd name="T55" fmla="*/ 40 h 92"/>
                <a:gd name="T56" fmla="*/ 79 w 92"/>
                <a:gd name="T57" fmla="*/ 40 h 92"/>
                <a:gd name="T58" fmla="*/ 77 w 92"/>
                <a:gd name="T59" fmla="*/ 3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92">
                  <a:moveTo>
                    <a:pt x="64" y="17"/>
                  </a:move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31" y="77"/>
                    <a:pt x="37" y="78"/>
                    <a:pt x="40" y="79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5" y="78"/>
                    <a:pt x="61" y="77"/>
                    <a:pt x="64" y="75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38"/>
                    <a:pt x="78" y="35"/>
                    <a:pt x="77" y="33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116">
              <a:extLst>
                <a:ext uri="{FF2B5EF4-FFF2-40B4-BE49-F238E27FC236}">
                  <a16:creationId xmlns:a16="http://schemas.microsoft.com/office/drawing/2014/main" id="{D21BF37D-E0D7-44F1-89AD-6ACF32A08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7350" y="3255963"/>
              <a:ext cx="236538" cy="211138"/>
            </a:xfrm>
            <a:custGeom>
              <a:avLst/>
              <a:gdLst>
                <a:gd name="T0" fmla="*/ 149 w 149"/>
                <a:gd name="T1" fmla="*/ 0 h 133"/>
                <a:gd name="T2" fmla="*/ 43 w 149"/>
                <a:gd name="T3" fmla="*/ 133 h 133"/>
                <a:gd name="T4" fmla="*/ 0 w 149"/>
                <a:gd name="T5" fmla="*/ 9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9" h="133">
                  <a:moveTo>
                    <a:pt x="149" y="0"/>
                  </a:moveTo>
                  <a:lnTo>
                    <a:pt x="43" y="133"/>
                  </a:lnTo>
                  <a:lnTo>
                    <a:pt x="0" y="9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5545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E4922B-3D88-46F7-834C-45E3F7057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NEXT STE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6C6BC-9BAE-4B63-A796-FFB618F73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41181E-E942-4719-A5EF-2D1D25C222B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CD4A8-C11B-49AF-9932-BA091CEE0471}"/>
              </a:ext>
            </a:extLst>
          </p:cNvPr>
          <p:cNvCxnSpPr/>
          <p:nvPr/>
        </p:nvCxnSpPr>
        <p:spPr>
          <a:xfrm>
            <a:off x="0" y="1222053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5578F59D-508C-44BF-80FB-317B7A87E57D}"/>
              </a:ext>
            </a:extLst>
          </p:cNvPr>
          <p:cNvSpPr/>
          <p:nvPr/>
        </p:nvSpPr>
        <p:spPr>
          <a:xfrm>
            <a:off x="360266" y="1641213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E889282-7F12-4D1F-90DD-984E2F6C2032}"/>
              </a:ext>
            </a:extLst>
          </p:cNvPr>
          <p:cNvSpPr/>
          <p:nvPr/>
        </p:nvSpPr>
        <p:spPr>
          <a:xfrm>
            <a:off x="360266" y="1901515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7DC8364-892A-43AD-81C8-DAF1659DC4BF}"/>
              </a:ext>
            </a:extLst>
          </p:cNvPr>
          <p:cNvSpPr/>
          <p:nvPr/>
        </p:nvSpPr>
        <p:spPr>
          <a:xfrm>
            <a:off x="360266" y="2161817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E43D303-5BF4-4EF5-BAAD-244CC20439F4}"/>
              </a:ext>
            </a:extLst>
          </p:cNvPr>
          <p:cNvSpPr/>
          <p:nvPr/>
        </p:nvSpPr>
        <p:spPr>
          <a:xfrm>
            <a:off x="360266" y="242211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B530D03-4809-4537-87BB-3A7072E54B49}"/>
              </a:ext>
            </a:extLst>
          </p:cNvPr>
          <p:cNvSpPr/>
          <p:nvPr/>
        </p:nvSpPr>
        <p:spPr>
          <a:xfrm>
            <a:off x="360266" y="2682421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F925FC1-BD59-4349-A86F-F3C0F1F82B0B}"/>
              </a:ext>
            </a:extLst>
          </p:cNvPr>
          <p:cNvSpPr/>
          <p:nvPr/>
        </p:nvSpPr>
        <p:spPr>
          <a:xfrm>
            <a:off x="360266" y="2942723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1CB9C16-C2E6-4BD3-825D-1A8C30ADDC6C}"/>
              </a:ext>
            </a:extLst>
          </p:cNvPr>
          <p:cNvSpPr/>
          <p:nvPr/>
        </p:nvSpPr>
        <p:spPr>
          <a:xfrm>
            <a:off x="360266" y="3203025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3B76859-239B-4D59-A1F1-610BF7DD43D4}"/>
              </a:ext>
            </a:extLst>
          </p:cNvPr>
          <p:cNvSpPr/>
          <p:nvPr/>
        </p:nvSpPr>
        <p:spPr>
          <a:xfrm>
            <a:off x="360266" y="3463327"/>
            <a:ext cx="166255" cy="1662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6A11A60-1AB2-4548-9AA7-221FCBBD0F82}"/>
              </a:ext>
            </a:extLst>
          </p:cNvPr>
          <p:cNvSpPr/>
          <p:nvPr/>
        </p:nvSpPr>
        <p:spPr>
          <a:xfrm>
            <a:off x="360266" y="372362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B7E57FA-A1EE-4163-8145-6F5329A18CD7}"/>
              </a:ext>
            </a:extLst>
          </p:cNvPr>
          <p:cNvSpPr/>
          <p:nvPr/>
        </p:nvSpPr>
        <p:spPr>
          <a:xfrm>
            <a:off x="360266" y="3983931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A31C63B-4A82-4ACF-911E-1361374CDC28}"/>
              </a:ext>
            </a:extLst>
          </p:cNvPr>
          <p:cNvSpPr/>
          <p:nvPr/>
        </p:nvSpPr>
        <p:spPr>
          <a:xfrm>
            <a:off x="360266" y="4244233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DB9D4D0-473C-48A4-B34A-6425EE793715}"/>
              </a:ext>
            </a:extLst>
          </p:cNvPr>
          <p:cNvSpPr/>
          <p:nvPr/>
        </p:nvSpPr>
        <p:spPr>
          <a:xfrm>
            <a:off x="360266" y="4504535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38F3B6A-11F5-42DB-93A6-0EA23D187C62}"/>
              </a:ext>
            </a:extLst>
          </p:cNvPr>
          <p:cNvSpPr/>
          <p:nvPr/>
        </p:nvSpPr>
        <p:spPr>
          <a:xfrm>
            <a:off x="360266" y="4764837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6091F17-495E-4ADE-A2EF-884A2E079A8E}"/>
              </a:ext>
            </a:extLst>
          </p:cNvPr>
          <p:cNvSpPr/>
          <p:nvPr/>
        </p:nvSpPr>
        <p:spPr>
          <a:xfrm>
            <a:off x="360266" y="5025139"/>
            <a:ext cx="166255" cy="1662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E438F61-A18A-4457-A5EC-EF1959497691}"/>
              </a:ext>
            </a:extLst>
          </p:cNvPr>
          <p:cNvSpPr/>
          <p:nvPr/>
        </p:nvSpPr>
        <p:spPr>
          <a:xfrm flipH="1">
            <a:off x="2029408" y="1799991"/>
            <a:ext cx="3312137" cy="984885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nalys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the customer demographics and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ehaviou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further to improve understanding of the base.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4543C0E-8C31-4060-B387-04EE6249C251}"/>
              </a:ext>
            </a:extLst>
          </p:cNvPr>
          <p:cNvSpPr/>
          <p:nvPr/>
        </p:nvSpPr>
        <p:spPr>
          <a:xfrm flipH="1">
            <a:off x="739328" y="1695098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AA8B8B7-252C-4C31-95A7-DE29860E3943}"/>
              </a:ext>
            </a:extLst>
          </p:cNvPr>
          <p:cNvSpPr/>
          <p:nvPr/>
        </p:nvSpPr>
        <p:spPr>
          <a:xfrm flipH="1">
            <a:off x="850771" y="1806540"/>
            <a:ext cx="854389" cy="85438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D605CB3-DD41-4D2A-9EA1-33F321519D75}"/>
              </a:ext>
            </a:extLst>
          </p:cNvPr>
          <p:cNvSpPr/>
          <p:nvPr/>
        </p:nvSpPr>
        <p:spPr>
          <a:xfrm flipH="1">
            <a:off x="2029408" y="3379925"/>
            <a:ext cx="854389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FC2B5F8-A939-4D48-A8AF-5CA8C88FB668}"/>
              </a:ext>
            </a:extLst>
          </p:cNvPr>
          <p:cNvSpPr/>
          <p:nvPr/>
        </p:nvSpPr>
        <p:spPr>
          <a:xfrm flipH="1">
            <a:off x="2029408" y="3755084"/>
            <a:ext cx="3312137" cy="984885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sider an investment in AI tools to build a recommender which can also be used to boost the movies that don't perform well.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A7259FF-838B-4572-97D9-F41D3D3F1982}"/>
              </a:ext>
            </a:extLst>
          </p:cNvPr>
          <p:cNvSpPr/>
          <p:nvPr/>
        </p:nvSpPr>
        <p:spPr>
          <a:xfrm flipH="1">
            <a:off x="739328" y="3630577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4290F67-A5C3-4150-9CE5-9B9342C1B846}"/>
              </a:ext>
            </a:extLst>
          </p:cNvPr>
          <p:cNvSpPr/>
          <p:nvPr/>
        </p:nvSpPr>
        <p:spPr>
          <a:xfrm flipH="1">
            <a:off x="850771" y="3742019"/>
            <a:ext cx="854389" cy="85438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208DF40-BFA9-4188-8314-0F2522F02F6E}"/>
              </a:ext>
            </a:extLst>
          </p:cNvPr>
          <p:cNvSpPr/>
          <p:nvPr/>
        </p:nvSpPr>
        <p:spPr>
          <a:xfrm flipH="1">
            <a:off x="2029408" y="5165171"/>
            <a:ext cx="854389" cy="45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06408E2-9782-4871-9FFD-8B8AE355C56C}"/>
              </a:ext>
            </a:extLst>
          </p:cNvPr>
          <p:cNvSpPr/>
          <p:nvPr/>
        </p:nvSpPr>
        <p:spPr>
          <a:xfrm flipH="1">
            <a:off x="7386078" y="1871704"/>
            <a:ext cx="3312137" cy="73866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duct market research on customer likes and dislikes to improve film recommendations.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34831AE-9596-48C3-A378-E7E7AEE056A9}"/>
              </a:ext>
            </a:extLst>
          </p:cNvPr>
          <p:cNvSpPr/>
          <p:nvPr/>
        </p:nvSpPr>
        <p:spPr>
          <a:xfrm flipH="1">
            <a:off x="6096000" y="1695098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EDD64C3-B8BD-4499-8274-15B03466AA49}"/>
              </a:ext>
            </a:extLst>
          </p:cNvPr>
          <p:cNvSpPr/>
          <p:nvPr/>
        </p:nvSpPr>
        <p:spPr>
          <a:xfrm flipH="1">
            <a:off x="6207443" y="1806540"/>
            <a:ext cx="854389" cy="85438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9C86A4D-F5B8-4697-947A-8BF13AC5AB89}"/>
              </a:ext>
            </a:extLst>
          </p:cNvPr>
          <p:cNvSpPr/>
          <p:nvPr/>
        </p:nvSpPr>
        <p:spPr>
          <a:xfrm flipH="1">
            <a:off x="7386080" y="3379925"/>
            <a:ext cx="854389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C80BF51-D63D-493B-9F87-DA375B7CF2CF}"/>
              </a:ext>
            </a:extLst>
          </p:cNvPr>
          <p:cNvSpPr/>
          <p:nvPr/>
        </p:nvSpPr>
        <p:spPr>
          <a:xfrm flipH="1">
            <a:off x="7386079" y="3823694"/>
            <a:ext cx="3312137" cy="73866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06D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sider other payment options and package options that could potentially appeal to a wider base.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B047609-0747-4EEB-9A13-C41F42134471}"/>
              </a:ext>
            </a:extLst>
          </p:cNvPr>
          <p:cNvSpPr/>
          <p:nvPr/>
        </p:nvSpPr>
        <p:spPr>
          <a:xfrm flipH="1">
            <a:off x="6096000" y="3630577"/>
            <a:ext cx="1077274" cy="107727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1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9EFA3C1-0C2E-41C5-AADB-811A27BF7484}"/>
              </a:ext>
            </a:extLst>
          </p:cNvPr>
          <p:cNvSpPr/>
          <p:nvPr/>
        </p:nvSpPr>
        <p:spPr>
          <a:xfrm flipH="1">
            <a:off x="6207443" y="3742019"/>
            <a:ext cx="854389" cy="854389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D158270-1B05-4F99-83BA-FB1E576A1843}"/>
              </a:ext>
            </a:extLst>
          </p:cNvPr>
          <p:cNvSpPr/>
          <p:nvPr/>
        </p:nvSpPr>
        <p:spPr>
          <a:xfrm flipH="1">
            <a:off x="7386080" y="5165171"/>
            <a:ext cx="854389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917270-E201-4B6A-A921-E2C42814DD5D}"/>
              </a:ext>
            </a:extLst>
          </p:cNvPr>
          <p:cNvGrpSpPr/>
          <p:nvPr/>
        </p:nvGrpSpPr>
        <p:grpSpPr>
          <a:xfrm>
            <a:off x="1160874" y="2104252"/>
            <a:ext cx="234183" cy="258964"/>
            <a:chOff x="9183688" y="1465264"/>
            <a:chExt cx="300038" cy="331788"/>
          </a:xfrm>
        </p:grpSpPr>
        <p:sp>
          <p:nvSpPr>
            <p:cNvPr id="54" name="Freeform 202">
              <a:extLst>
                <a:ext uri="{FF2B5EF4-FFF2-40B4-BE49-F238E27FC236}">
                  <a16:creationId xmlns:a16="http://schemas.microsoft.com/office/drawing/2014/main" id="{6F3E0715-188C-4D50-BC74-9620C21F5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8951" y="1601789"/>
              <a:ext cx="104775" cy="195263"/>
            </a:xfrm>
            <a:custGeom>
              <a:avLst/>
              <a:gdLst>
                <a:gd name="T0" fmla="*/ 0 w 28"/>
                <a:gd name="T1" fmla="*/ 0 h 52"/>
                <a:gd name="T2" fmla="*/ 28 w 28"/>
                <a:gd name="T3" fmla="*/ 0 h 52"/>
                <a:gd name="T4" fmla="*/ 28 w 28"/>
                <a:gd name="T5" fmla="*/ 20 h 52"/>
                <a:gd name="T6" fmla="*/ 20 w 28"/>
                <a:gd name="T7" fmla="*/ 28 h 52"/>
                <a:gd name="T8" fmla="*/ 20 w 28"/>
                <a:gd name="T9" fmla="*/ 52 h 52"/>
                <a:gd name="T10" fmla="*/ 8 w 28"/>
                <a:gd name="T11" fmla="*/ 52 h 52"/>
                <a:gd name="T12" fmla="*/ 8 w 28"/>
                <a:gd name="T13" fmla="*/ 28 h 52"/>
                <a:gd name="T14" fmla="*/ 0 w 28"/>
                <a:gd name="T15" fmla="*/ 20 h 52"/>
                <a:gd name="T16" fmla="*/ 0 w 28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52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4" y="28"/>
                    <a:pt x="0" y="24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Oval 203">
              <a:extLst>
                <a:ext uri="{FF2B5EF4-FFF2-40B4-BE49-F238E27FC236}">
                  <a16:creationId xmlns:a16="http://schemas.microsoft.com/office/drawing/2014/main" id="{D79F2AC6-8929-4367-A96B-16E881E00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4826" y="1495426"/>
              <a:ext cx="74613" cy="76200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Line 204">
              <a:extLst>
                <a:ext uri="{FF2B5EF4-FFF2-40B4-BE49-F238E27FC236}">
                  <a16:creationId xmlns:a16="http://schemas.microsoft.com/office/drawing/2014/main" id="{CA588FFE-8979-4B84-B31B-DD1BA3D64C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688" y="1465264"/>
              <a:ext cx="0" cy="3317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206">
              <a:extLst>
                <a:ext uri="{FF2B5EF4-FFF2-40B4-BE49-F238E27FC236}">
                  <a16:creationId xmlns:a16="http://schemas.microsoft.com/office/drawing/2014/main" id="{B47EFB55-072B-481D-8817-7736DBFE9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3688" y="1495426"/>
              <a:ext cx="150813" cy="90488"/>
            </a:xfrm>
            <a:custGeom>
              <a:avLst/>
              <a:gdLst>
                <a:gd name="T0" fmla="*/ 95 w 95"/>
                <a:gd name="T1" fmla="*/ 57 h 57"/>
                <a:gd name="T2" fmla="*/ 0 w 95"/>
                <a:gd name="T3" fmla="*/ 57 h 57"/>
                <a:gd name="T4" fmla="*/ 0 w 95"/>
                <a:gd name="T5" fmla="*/ 0 h 57"/>
                <a:gd name="T6" fmla="*/ 95 w 95"/>
                <a:gd name="T7" fmla="*/ 0 h 57"/>
                <a:gd name="T8" fmla="*/ 66 w 95"/>
                <a:gd name="T9" fmla="*/ 29 h 57"/>
                <a:gd name="T10" fmla="*/ 95 w 95"/>
                <a:gd name="T1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57">
                  <a:moveTo>
                    <a:pt x="95" y="57"/>
                  </a:moveTo>
                  <a:lnTo>
                    <a:pt x="0" y="57"/>
                  </a:lnTo>
                  <a:lnTo>
                    <a:pt x="0" y="0"/>
                  </a:lnTo>
                  <a:lnTo>
                    <a:pt x="95" y="0"/>
                  </a:lnTo>
                  <a:lnTo>
                    <a:pt x="66" y="29"/>
                  </a:lnTo>
                  <a:lnTo>
                    <a:pt x="95" y="57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5B52BEF-EB1A-49B4-9BF5-0379D6AD1A85}"/>
              </a:ext>
            </a:extLst>
          </p:cNvPr>
          <p:cNvGrpSpPr/>
          <p:nvPr/>
        </p:nvGrpSpPr>
        <p:grpSpPr>
          <a:xfrm>
            <a:off x="6490167" y="2089264"/>
            <a:ext cx="288940" cy="288940"/>
            <a:chOff x="5562601" y="3617914"/>
            <a:chExt cx="346075" cy="346075"/>
          </a:xfrm>
        </p:grpSpPr>
        <p:sp>
          <p:nvSpPr>
            <p:cNvPr id="59" name="Line 164">
              <a:extLst>
                <a:ext uri="{FF2B5EF4-FFF2-40B4-BE49-F238E27FC236}">
                  <a16:creationId xmlns:a16="http://schemas.microsoft.com/office/drawing/2014/main" id="{4D04CFFC-B2B3-47F6-A44A-3CF01491C7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826126" y="3617914"/>
              <a:ext cx="82550" cy="8255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Line 165">
              <a:extLst>
                <a:ext uri="{FF2B5EF4-FFF2-40B4-BE49-F238E27FC236}">
                  <a16:creationId xmlns:a16="http://schemas.microsoft.com/office/drawing/2014/main" id="{8B73BED8-D6A4-4707-8333-EC13910047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62601" y="3879851"/>
              <a:ext cx="82550" cy="8413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166">
              <a:extLst>
                <a:ext uri="{FF2B5EF4-FFF2-40B4-BE49-F238E27FC236}">
                  <a16:creationId xmlns:a16="http://schemas.microsoft.com/office/drawing/2014/main" id="{E1F18AAE-B63F-488B-896B-CD37200ED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3887789"/>
              <a:ext cx="74613" cy="76200"/>
            </a:xfrm>
            <a:custGeom>
              <a:avLst/>
              <a:gdLst>
                <a:gd name="T0" fmla="*/ 47 w 47"/>
                <a:gd name="T1" fmla="*/ 48 h 48"/>
                <a:gd name="T2" fmla="*/ 0 w 47"/>
                <a:gd name="T3" fmla="*/ 48 h 48"/>
                <a:gd name="T4" fmla="*/ 0 w 47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8">
                  <a:moveTo>
                    <a:pt x="47" y="48"/>
                  </a:moveTo>
                  <a:lnTo>
                    <a:pt x="0" y="48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167">
              <a:extLst>
                <a:ext uri="{FF2B5EF4-FFF2-40B4-BE49-F238E27FC236}">
                  <a16:creationId xmlns:a16="http://schemas.microsoft.com/office/drawing/2014/main" id="{B3E246E6-5399-48A0-8E57-FCF1E96DC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3617914"/>
              <a:ext cx="76200" cy="74613"/>
            </a:xfrm>
            <a:custGeom>
              <a:avLst/>
              <a:gdLst>
                <a:gd name="T0" fmla="*/ 48 w 48"/>
                <a:gd name="T1" fmla="*/ 47 h 47"/>
                <a:gd name="T2" fmla="*/ 48 w 48"/>
                <a:gd name="T3" fmla="*/ 0 h 47"/>
                <a:gd name="T4" fmla="*/ 0 w 48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47">
                  <a:moveTo>
                    <a:pt x="48" y="47"/>
                  </a:moveTo>
                  <a:lnTo>
                    <a:pt x="48" y="0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Line 168">
              <a:extLst>
                <a:ext uri="{FF2B5EF4-FFF2-40B4-BE49-F238E27FC236}">
                  <a16:creationId xmlns:a16="http://schemas.microsoft.com/office/drawing/2014/main" id="{86BEE325-E7F9-49C3-819E-E2BFF164F9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26126" y="3879851"/>
              <a:ext cx="82550" cy="8413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Line 169">
              <a:extLst>
                <a:ext uri="{FF2B5EF4-FFF2-40B4-BE49-F238E27FC236}">
                  <a16:creationId xmlns:a16="http://schemas.microsoft.com/office/drawing/2014/main" id="{02A43497-06BC-44CB-884C-93EBF8D7B4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2601" y="3617914"/>
              <a:ext cx="82550" cy="8255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170">
              <a:extLst>
                <a:ext uri="{FF2B5EF4-FFF2-40B4-BE49-F238E27FC236}">
                  <a16:creationId xmlns:a16="http://schemas.microsoft.com/office/drawing/2014/main" id="{A34F9684-D11F-4145-9A4D-BB55762AB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3617914"/>
              <a:ext cx="74613" cy="74613"/>
            </a:xfrm>
            <a:custGeom>
              <a:avLst/>
              <a:gdLst>
                <a:gd name="T0" fmla="*/ 0 w 47"/>
                <a:gd name="T1" fmla="*/ 47 h 47"/>
                <a:gd name="T2" fmla="*/ 0 w 47"/>
                <a:gd name="T3" fmla="*/ 0 h 47"/>
                <a:gd name="T4" fmla="*/ 47 w 47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47"/>
                  </a:moveTo>
                  <a:lnTo>
                    <a:pt x="0" y="0"/>
                  </a:lnTo>
                  <a:lnTo>
                    <a:pt x="47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171">
              <a:extLst>
                <a:ext uri="{FF2B5EF4-FFF2-40B4-BE49-F238E27FC236}">
                  <a16:creationId xmlns:a16="http://schemas.microsoft.com/office/drawing/2014/main" id="{22336669-E0FA-462C-81CB-9AEAE99C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3887789"/>
              <a:ext cx="76200" cy="76200"/>
            </a:xfrm>
            <a:custGeom>
              <a:avLst/>
              <a:gdLst>
                <a:gd name="T0" fmla="*/ 0 w 48"/>
                <a:gd name="T1" fmla="*/ 48 h 48"/>
                <a:gd name="T2" fmla="*/ 48 w 48"/>
                <a:gd name="T3" fmla="*/ 48 h 48"/>
                <a:gd name="T4" fmla="*/ 48 w 48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48">
                  <a:moveTo>
                    <a:pt x="0" y="48"/>
                  </a:moveTo>
                  <a:lnTo>
                    <a:pt x="48" y="48"/>
                  </a:lnTo>
                  <a:lnTo>
                    <a:pt x="48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Oval 172">
              <a:extLst>
                <a:ext uri="{FF2B5EF4-FFF2-40B4-BE49-F238E27FC236}">
                  <a16:creationId xmlns:a16="http://schemas.microsoft.com/office/drawing/2014/main" id="{5067036E-F563-4145-92F4-2E738AF52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3662364"/>
              <a:ext cx="88900" cy="904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173">
              <a:extLst>
                <a:ext uri="{FF2B5EF4-FFF2-40B4-BE49-F238E27FC236}">
                  <a16:creationId xmlns:a16="http://schemas.microsoft.com/office/drawing/2014/main" id="{FCF1C931-BE1F-4255-8086-29E285289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783014"/>
              <a:ext cx="136525" cy="150813"/>
            </a:xfrm>
            <a:custGeom>
              <a:avLst/>
              <a:gdLst>
                <a:gd name="T0" fmla="*/ 36 w 36"/>
                <a:gd name="T1" fmla="*/ 0 h 40"/>
                <a:gd name="T2" fmla="*/ 0 w 36"/>
                <a:gd name="T3" fmla="*/ 0 h 40"/>
                <a:gd name="T4" fmla="*/ 12 w 36"/>
                <a:gd name="T5" fmla="*/ 23 h 40"/>
                <a:gd name="T6" fmla="*/ 12 w 36"/>
                <a:gd name="T7" fmla="*/ 40 h 40"/>
                <a:gd name="T8" fmla="*/ 24 w 36"/>
                <a:gd name="T9" fmla="*/ 40 h 40"/>
                <a:gd name="T10" fmla="*/ 24 w 36"/>
                <a:gd name="T11" fmla="*/ 23 h 40"/>
                <a:gd name="T12" fmla="*/ 36 w 3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0"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4" y="20"/>
                    <a:pt x="12" y="23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32" y="20"/>
                    <a:pt x="36" y="8"/>
                    <a:pt x="36" y="0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19BCF6F-6762-412A-BF40-2B92420F47CC}"/>
              </a:ext>
            </a:extLst>
          </p:cNvPr>
          <p:cNvGrpSpPr/>
          <p:nvPr/>
        </p:nvGrpSpPr>
        <p:grpSpPr>
          <a:xfrm>
            <a:off x="1122390" y="3996176"/>
            <a:ext cx="311150" cy="346075"/>
            <a:chOff x="6299200" y="5060951"/>
            <a:chExt cx="311150" cy="346075"/>
          </a:xfrm>
        </p:grpSpPr>
        <p:sp>
          <p:nvSpPr>
            <p:cNvPr id="70" name="Freeform 344">
              <a:extLst>
                <a:ext uri="{FF2B5EF4-FFF2-40B4-BE49-F238E27FC236}">
                  <a16:creationId xmlns:a16="http://schemas.microsoft.com/office/drawing/2014/main" id="{CEFA51C3-4F00-4ECC-B2BA-FB497FBB0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0" y="5060951"/>
              <a:ext cx="311150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Line 345">
              <a:extLst>
                <a:ext uri="{FF2B5EF4-FFF2-40B4-BE49-F238E27FC236}">
                  <a16:creationId xmlns:a16="http://schemas.microsoft.com/office/drawing/2014/main" id="{9B535D5C-3819-49CF-9F2A-7D91948B13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34138" y="5167313"/>
              <a:ext cx="603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Line 346">
              <a:extLst>
                <a:ext uri="{FF2B5EF4-FFF2-40B4-BE49-F238E27FC236}">
                  <a16:creationId xmlns:a16="http://schemas.microsoft.com/office/drawing/2014/main" id="{BA40E309-6EBB-4171-BA5E-7D833727EF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197476"/>
              <a:ext cx="904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Line 347">
              <a:extLst>
                <a:ext uri="{FF2B5EF4-FFF2-40B4-BE49-F238E27FC236}">
                  <a16:creationId xmlns:a16="http://schemas.microsoft.com/office/drawing/2014/main" id="{CCADAEE9-BDE3-44CB-BF34-BFF9D56A5E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27638"/>
              <a:ext cx="904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Line 348">
              <a:extLst>
                <a:ext uri="{FF2B5EF4-FFF2-40B4-BE49-F238E27FC236}">
                  <a16:creationId xmlns:a16="http://schemas.microsoft.com/office/drawing/2014/main" id="{BD565CE9-B535-41A0-8629-DD133EDB40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57801"/>
              <a:ext cx="904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Rectangle 349">
              <a:extLst>
                <a:ext uri="{FF2B5EF4-FFF2-40B4-BE49-F238E27FC236}">
                  <a16:creationId xmlns:a16="http://schemas.microsoft.com/office/drawing/2014/main" id="{B32D505E-FC59-4E24-B9C4-0393114AE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3813" y="5137151"/>
              <a:ext cx="150813" cy="150813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76" name="Freeform 5">
            <a:extLst>
              <a:ext uri="{FF2B5EF4-FFF2-40B4-BE49-F238E27FC236}">
                <a16:creationId xmlns:a16="http://schemas.microsoft.com/office/drawing/2014/main" id="{A934D6F1-F531-43B8-A4FB-818F948E3994}"/>
              </a:ext>
            </a:extLst>
          </p:cNvPr>
          <p:cNvSpPr>
            <a:spLocks noEditPoints="1"/>
          </p:cNvSpPr>
          <p:nvPr/>
        </p:nvSpPr>
        <p:spPr bwMode="auto">
          <a:xfrm>
            <a:off x="6461451" y="3994446"/>
            <a:ext cx="346373" cy="349534"/>
          </a:xfrm>
          <a:custGeom>
            <a:avLst/>
            <a:gdLst>
              <a:gd name="T0" fmla="*/ 1431 w 2048"/>
              <a:gd name="T1" fmla="*/ 839 h 2068"/>
              <a:gd name="T2" fmla="*/ 1314 w 2048"/>
              <a:gd name="T3" fmla="*/ 265 h 2068"/>
              <a:gd name="T4" fmla="*/ 1151 w 2048"/>
              <a:gd name="T5" fmla="*/ 44 h 2068"/>
              <a:gd name="T6" fmla="*/ 747 w 2048"/>
              <a:gd name="T7" fmla="*/ 261 h 2068"/>
              <a:gd name="T8" fmla="*/ 679 w 2048"/>
              <a:gd name="T9" fmla="*/ 839 h 2068"/>
              <a:gd name="T10" fmla="*/ 0 w 2048"/>
              <a:gd name="T11" fmla="*/ 1273 h 2068"/>
              <a:gd name="T12" fmla="*/ 96 w 2048"/>
              <a:gd name="T13" fmla="*/ 2068 h 2068"/>
              <a:gd name="T14" fmla="*/ 1239 w 2048"/>
              <a:gd name="T15" fmla="*/ 2068 h 2068"/>
              <a:gd name="T16" fmla="*/ 2048 w 2048"/>
              <a:gd name="T17" fmla="*/ 1424 h 2068"/>
              <a:gd name="T18" fmla="*/ 1755 w 2048"/>
              <a:gd name="T19" fmla="*/ 1170 h 2068"/>
              <a:gd name="T20" fmla="*/ 1251 w 2048"/>
              <a:gd name="T21" fmla="*/ 590 h 2068"/>
              <a:gd name="T22" fmla="*/ 1277 w 2048"/>
              <a:gd name="T23" fmla="*/ 979 h 2068"/>
              <a:gd name="T24" fmla="*/ 1110 w 2048"/>
              <a:gd name="T25" fmla="*/ 971 h 2068"/>
              <a:gd name="T26" fmla="*/ 1079 w 2048"/>
              <a:gd name="T27" fmla="*/ 735 h 2068"/>
              <a:gd name="T28" fmla="*/ 1030 w 2048"/>
              <a:gd name="T29" fmla="*/ 735 h 2068"/>
              <a:gd name="T30" fmla="*/ 1014 w 2048"/>
              <a:gd name="T31" fmla="*/ 519 h 2068"/>
              <a:gd name="T32" fmla="*/ 929 w 2048"/>
              <a:gd name="T33" fmla="*/ 512 h 2068"/>
              <a:gd name="T34" fmla="*/ 929 w 2048"/>
              <a:gd name="T35" fmla="*/ 512 h 2068"/>
              <a:gd name="T36" fmla="*/ 1180 w 2048"/>
              <a:gd name="T37" fmla="*/ 512 h 2068"/>
              <a:gd name="T38" fmla="*/ 1180 w 2048"/>
              <a:gd name="T39" fmla="*/ 512 h 2068"/>
              <a:gd name="T40" fmla="*/ 908 w 2048"/>
              <a:gd name="T41" fmla="*/ 155 h 2068"/>
              <a:gd name="T42" fmla="*/ 1231 w 2048"/>
              <a:gd name="T43" fmla="*/ 183 h 2068"/>
              <a:gd name="T44" fmla="*/ 1205 w 2048"/>
              <a:gd name="T45" fmla="*/ 187 h 2068"/>
              <a:gd name="T46" fmla="*/ 908 w 2048"/>
              <a:gd name="T47" fmla="*/ 155 h 2068"/>
              <a:gd name="T48" fmla="*/ 1055 w 2048"/>
              <a:gd name="T49" fmla="*/ 463 h 2068"/>
              <a:gd name="T50" fmla="*/ 971 w 2048"/>
              <a:gd name="T51" fmla="*/ 717 h 2068"/>
              <a:gd name="T52" fmla="*/ 891 w 2048"/>
              <a:gd name="T53" fmla="*/ 850 h 2068"/>
              <a:gd name="T54" fmla="*/ 738 w 2048"/>
              <a:gd name="T55" fmla="*/ 839 h 2068"/>
              <a:gd name="T56" fmla="*/ 1414 w 2048"/>
              <a:gd name="T57" fmla="*/ 1400 h 2068"/>
              <a:gd name="T58" fmla="*/ 634 w 2048"/>
              <a:gd name="T59" fmla="*/ 1400 h 2068"/>
              <a:gd name="T60" fmla="*/ 500 w 2048"/>
              <a:gd name="T61" fmla="*/ 963 h 2068"/>
              <a:gd name="T62" fmla="*/ 500 w 2048"/>
              <a:gd name="T63" fmla="*/ 963 h 2068"/>
              <a:gd name="T64" fmla="*/ 301 w 2048"/>
              <a:gd name="T65" fmla="*/ 1430 h 2068"/>
              <a:gd name="T66" fmla="*/ 59 w 2048"/>
              <a:gd name="T67" fmla="*/ 1380 h 2068"/>
              <a:gd name="T68" fmla="*/ 845 w 2048"/>
              <a:gd name="T69" fmla="*/ 2009 h 2068"/>
              <a:gd name="T70" fmla="*/ 679 w 2048"/>
              <a:gd name="T71" fmla="*/ 2009 h 2068"/>
              <a:gd name="T72" fmla="*/ 262 w 2048"/>
              <a:gd name="T73" fmla="*/ 2009 h 2068"/>
              <a:gd name="T74" fmla="*/ 845 w 2048"/>
              <a:gd name="T75" fmla="*/ 1781 h 2068"/>
              <a:gd name="T76" fmla="*/ 904 w 2048"/>
              <a:gd name="T77" fmla="*/ 2009 h 2068"/>
              <a:gd name="T78" fmla="*/ 1148 w 2048"/>
              <a:gd name="T79" fmla="*/ 1725 h 2068"/>
              <a:gd name="T80" fmla="*/ 887 w 2048"/>
              <a:gd name="T81" fmla="*/ 1665 h 2068"/>
              <a:gd name="T82" fmla="*/ 1161 w 2048"/>
              <a:gd name="T83" fmla="*/ 1665 h 2068"/>
              <a:gd name="T84" fmla="*/ 1727 w 2048"/>
              <a:gd name="T85" fmla="*/ 1793 h 2068"/>
              <a:gd name="T86" fmla="*/ 1310 w 2048"/>
              <a:gd name="T87" fmla="*/ 1793 h 2068"/>
              <a:gd name="T88" fmla="*/ 1548 w 2048"/>
              <a:gd name="T89" fmla="*/ 1437 h 2068"/>
              <a:gd name="T90" fmla="*/ 1868 w 2048"/>
              <a:gd name="T91" fmla="*/ 1535 h 2068"/>
              <a:gd name="T92" fmla="*/ 1747 w 2048"/>
              <a:gd name="T93" fmla="*/ 1430 h 2068"/>
              <a:gd name="T94" fmla="*/ 1989 w 2048"/>
              <a:gd name="T95" fmla="*/ 1273 h 2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48" h="2068">
                <a:moveTo>
                  <a:pt x="1794" y="1069"/>
                </a:moveTo>
                <a:cubicBezTo>
                  <a:pt x="1754" y="972"/>
                  <a:pt x="1659" y="904"/>
                  <a:pt x="1548" y="904"/>
                </a:cubicBezTo>
                <a:cubicBezTo>
                  <a:pt x="1506" y="904"/>
                  <a:pt x="1466" y="913"/>
                  <a:pt x="1431" y="930"/>
                </a:cubicBezTo>
                <a:cubicBezTo>
                  <a:pt x="1431" y="839"/>
                  <a:pt x="1431" y="839"/>
                  <a:pt x="1431" y="839"/>
                </a:cubicBezTo>
                <a:cubicBezTo>
                  <a:pt x="1431" y="710"/>
                  <a:pt x="1364" y="591"/>
                  <a:pt x="1259" y="523"/>
                </a:cubicBezTo>
                <a:cubicBezTo>
                  <a:pt x="1259" y="523"/>
                  <a:pt x="1219" y="463"/>
                  <a:pt x="1218" y="461"/>
                </a:cubicBezTo>
                <a:cubicBezTo>
                  <a:pt x="1218" y="461"/>
                  <a:pt x="1230" y="450"/>
                  <a:pt x="1232" y="447"/>
                </a:cubicBezTo>
                <a:cubicBezTo>
                  <a:pt x="1279" y="399"/>
                  <a:pt x="1306" y="331"/>
                  <a:pt x="1314" y="265"/>
                </a:cubicBezTo>
                <a:cubicBezTo>
                  <a:pt x="1317" y="245"/>
                  <a:pt x="1317" y="224"/>
                  <a:pt x="1313" y="204"/>
                </a:cubicBezTo>
                <a:cubicBezTo>
                  <a:pt x="1311" y="193"/>
                  <a:pt x="1307" y="183"/>
                  <a:pt x="1302" y="173"/>
                </a:cubicBezTo>
                <a:cubicBezTo>
                  <a:pt x="1289" y="147"/>
                  <a:pt x="1269" y="135"/>
                  <a:pt x="1256" y="129"/>
                </a:cubicBezTo>
                <a:cubicBezTo>
                  <a:pt x="1224" y="87"/>
                  <a:pt x="1191" y="61"/>
                  <a:pt x="1151" y="44"/>
                </a:cubicBezTo>
                <a:cubicBezTo>
                  <a:pt x="1045" y="0"/>
                  <a:pt x="931" y="30"/>
                  <a:pt x="862" y="118"/>
                </a:cubicBezTo>
                <a:cubicBezTo>
                  <a:pt x="817" y="175"/>
                  <a:pt x="747" y="207"/>
                  <a:pt x="746" y="207"/>
                </a:cubicBezTo>
                <a:cubicBezTo>
                  <a:pt x="684" y="235"/>
                  <a:pt x="684" y="235"/>
                  <a:pt x="684" y="235"/>
                </a:cubicBezTo>
                <a:cubicBezTo>
                  <a:pt x="747" y="261"/>
                  <a:pt x="747" y="261"/>
                  <a:pt x="747" y="261"/>
                </a:cubicBezTo>
                <a:cubicBezTo>
                  <a:pt x="767" y="270"/>
                  <a:pt x="787" y="277"/>
                  <a:pt x="806" y="283"/>
                </a:cubicBezTo>
                <a:cubicBezTo>
                  <a:pt x="809" y="354"/>
                  <a:pt x="842" y="418"/>
                  <a:pt x="892" y="461"/>
                </a:cubicBezTo>
                <a:cubicBezTo>
                  <a:pt x="851" y="523"/>
                  <a:pt x="851" y="523"/>
                  <a:pt x="851" y="523"/>
                </a:cubicBezTo>
                <a:cubicBezTo>
                  <a:pt x="746" y="591"/>
                  <a:pt x="679" y="709"/>
                  <a:pt x="679" y="839"/>
                </a:cubicBezTo>
                <a:cubicBezTo>
                  <a:pt x="679" y="972"/>
                  <a:pt x="679" y="972"/>
                  <a:pt x="679" y="972"/>
                </a:cubicBezTo>
                <a:cubicBezTo>
                  <a:pt x="631" y="930"/>
                  <a:pt x="569" y="904"/>
                  <a:pt x="500" y="904"/>
                </a:cubicBezTo>
                <a:cubicBezTo>
                  <a:pt x="389" y="904"/>
                  <a:pt x="294" y="972"/>
                  <a:pt x="254" y="1069"/>
                </a:cubicBezTo>
                <a:cubicBezTo>
                  <a:pt x="100" y="1119"/>
                  <a:pt x="0" y="1187"/>
                  <a:pt x="0" y="1273"/>
                </a:cubicBezTo>
                <a:cubicBezTo>
                  <a:pt x="0" y="1424"/>
                  <a:pt x="0" y="1424"/>
                  <a:pt x="0" y="1424"/>
                </a:cubicBezTo>
                <a:cubicBezTo>
                  <a:pt x="0" y="1484"/>
                  <a:pt x="50" y="1539"/>
                  <a:pt x="147" y="1585"/>
                </a:cubicBezTo>
                <a:cubicBezTo>
                  <a:pt x="115" y="1643"/>
                  <a:pt x="96" y="1710"/>
                  <a:pt x="96" y="1781"/>
                </a:cubicBezTo>
                <a:cubicBezTo>
                  <a:pt x="96" y="2068"/>
                  <a:pt x="96" y="2068"/>
                  <a:pt x="96" y="2068"/>
                </a:cubicBezTo>
                <a:cubicBezTo>
                  <a:pt x="809" y="2068"/>
                  <a:pt x="809" y="2068"/>
                  <a:pt x="809" y="2068"/>
                </a:cubicBezTo>
                <a:cubicBezTo>
                  <a:pt x="904" y="2068"/>
                  <a:pt x="904" y="2068"/>
                  <a:pt x="904" y="2068"/>
                </a:cubicBezTo>
                <a:cubicBezTo>
                  <a:pt x="1144" y="2068"/>
                  <a:pt x="1144" y="2068"/>
                  <a:pt x="1144" y="2068"/>
                </a:cubicBezTo>
                <a:cubicBezTo>
                  <a:pt x="1239" y="2068"/>
                  <a:pt x="1239" y="2068"/>
                  <a:pt x="1239" y="2068"/>
                </a:cubicBezTo>
                <a:cubicBezTo>
                  <a:pt x="1952" y="2068"/>
                  <a:pt x="1952" y="2068"/>
                  <a:pt x="1952" y="2068"/>
                </a:cubicBezTo>
                <a:cubicBezTo>
                  <a:pt x="1952" y="1781"/>
                  <a:pt x="1952" y="1781"/>
                  <a:pt x="1952" y="1781"/>
                </a:cubicBezTo>
                <a:cubicBezTo>
                  <a:pt x="1952" y="1710"/>
                  <a:pt x="1933" y="1643"/>
                  <a:pt x="1901" y="1585"/>
                </a:cubicBezTo>
                <a:cubicBezTo>
                  <a:pt x="1998" y="1539"/>
                  <a:pt x="2048" y="1484"/>
                  <a:pt x="2048" y="1424"/>
                </a:cubicBezTo>
                <a:cubicBezTo>
                  <a:pt x="2048" y="1273"/>
                  <a:pt x="2048" y="1273"/>
                  <a:pt x="2048" y="1273"/>
                </a:cubicBezTo>
                <a:cubicBezTo>
                  <a:pt x="2048" y="1187"/>
                  <a:pt x="1948" y="1119"/>
                  <a:pt x="1794" y="1069"/>
                </a:cubicBezTo>
                <a:close/>
                <a:moveTo>
                  <a:pt x="1548" y="963"/>
                </a:moveTo>
                <a:cubicBezTo>
                  <a:pt x="1662" y="963"/>
                  <a:pt x="1755" y="1056"/>
                  <a:pt x="1755" y="1170"/>
                </a:cubicBezTo>
                <a:cubicBezTo>
                  <a:pt x="1755" y="1284"/>
                  <a:pt x="1662" y="1378"/>
                  <a:pt x="1548" y="1378"/>
                </a:cubicBezTo>
                <a:cubicBezTo>
                  <a:pt x="1433" y="1378"/>
                  <a:pt x="1340" y="1284"/>
                  <a:pt x="1340" y="1170"/>
                </a:cubicBezTo>
                <a:cubicBezTo>
                  <a:pt x="1340" y="1056"/>
                  <a:pt x="1433" y="963"/>
                  <a:pt x="1548" y="963"/>
                </a:cubicBezTo>
                <a:close/>
                <a:moveTo>
                  <a:pt x="1251" y="590"/>
                </a:moveTo>
                <a:cubicBezTo>
                  <a:pt x="1325" y="649"/>
                  <a:pt x="1372" y="740"/>
                  <a:pt x="1372" y="839"/>
                </a:cubicBezTo>
                <a:cubicBezTo>
                  <a:pt x="1372" y="970"/>
                  <a:pt x="1372" y="970"/>
                  <a:pt x="1372" y="970"/>
                </a:cubicBezTo>
                <a:cubicBezTo>
                  <a:pt x="1366" y="975"/>
                  <a:pt x="1361" y="980"/>
                  <a:pt x="1356" y="986"/>
                </a:cubicBezTo>
                <a:cubicBezTo>
                  <a:pt x="1330" y="983"/>
                  <a:pt x="1304" y="981"/>
                  <a:pt x="1277" y="979"/>
                </a:cubicBezTo>
                <a:cubicBezTo>
                  <a:pt x="1277" y="850"/>
                  <a:pt x="1277" y="850"/>
                  <a:pt x="1277" y="850"/>
                </a:cubicBezTo>
                <a:cubicBezTo>
                  <a:pt x="1218" y="850"/>
                  <a:pt x="1218" y="850"/>
                  <a:pt x="1218" y="850"/>
                </a:cubicBezTo>
                <a:cubicBezTo>
                  <a:pt x="1218" y="975"/>
                  <a:pt x="1218" y="975"/>
                  <a:pt x="1218" y="975"/>
                </a:cubicBezTo>
                <a:cubicBezTo>
                  <a:pt x="1182" y="973"/>
                  <a:pt x="1146" y="972"/>
                  <a:pt x="1110" y="971"/>
                </a:cubicBezTo>
                <a:cubicBezTo>
                  <a:pt x="1139" y="943"/>
                  <a:pt x="1139" y="943"/>
                  <a:pt x="1139" y="943"/>
                </a:cubicBezTo>
                <a:cubicBezTo>
                  <a:pt x="1139" y="717"/>
                  <a:pt x="1139" y="717"/>
                  <a:pt x="1139" y="717"/>
                </a:cubicBezTo>
                <a:lnTo>
                  <a:pt x="1251" y="590"/>
                </a:lnTo>
                <a:close/>
                <a:moveTo>
                  <a:pt x="1079" y="735"/>
                </a:moveTo>
                <a:cubicBezTo>
                  <a:pt x="1079" y="918"/>
                  <a:pt x="1079" y="918"/>
                  <a:pt x="1079" y="918"/>
                </a:cubicBezTo>
                <a:cubicBezTo>
                  <a:pt x="1055" y="942"/>
                  <a:pt x="1055" y="942"/>
                  <a:pt x="1055" y="942"/>
                </a:cubicBezTo>
                <a:cubicBezTo>
                  <a:pt x="1030" y="918"/>
                  <a:pt x="1030" y="918"/>
                  <a:pt x="1030" y="918"/>
                </a:cubicBezTo>
                <a:cubicBezTo>
                  <a:pt x="1030" y="735"/>
                  <a:pt x="1030" y="735"/>
                  <a:pt x="1030" y="735"/>
                </a:cubicBezTo>
                <a:cubicBezTo>
                  <a:pt x="1031" y="735"/>
                  <a:pt x="1033" y="735"/>
                  <a:pt x="1034" y="735"/>
                </a:cubicBezTo>
                <a:cubicBezTo>
                  <a:pt x="1045" y="735"/>
                  <a:pt x="1060" y="735"/>
                  <a:pt x="1079" y="735"/>
                </a:cubicBezTo>
                <a:close/>
                <a:moveTo>
                  <a:pt x="1055" y="566"/>
                </a:moveTo>
                <a:cubicBezTo>
                  <a:pt x="1014" y="519"/>
                  <a:pt x="1014" y="519"/>
                  <a:pt x="1014" y="519"/>
                </a:cubicBezTo>
                <a:cubicBezTo>
                  <a:pt x="1027" y="521"/>
                  <a:pt x="1041" y="522"/>
                  <a:pt x="1055" y="522"/>
                </a:cubicBezTo>
                <a:cubicBezTo>
                  <a:pt x="1069" y="522"/>
                  <a:pt x="1082" y="521"/>
                  <a:pt x="1096" y="519"/>
                </a:cubicBezTo>
                <a:lnTo>
                  <a:pt x="1055" y="566"/>
                </a:lnTo>
                <a:close/>
                <a:moveTo>
                  <a:pt x="929" y="512"/>
                </a:moveTo>
                <a:cubicBezTo>
                  <a:pt x="1019" y="614"/>
                  <a:pt x="1019" y="614"/>
                  <a:pt x="1019" y="614"/>
                </a:cubicBezTo>
                <a:cubicBezTo>
                  <a:pt x="995" y="655"/>
                  <a:pt x="995" y="655"/>
                  <a:pt x="995" y="655"/>
                </a:cubicBezTo>
                <a:cubicBezTo>
                  <a:pt x="903" y="551"/>
                  <a:pt x="903" y="551"/>
                  <a:pt x="903" y="551"/>
                </a:cubicBezTo>
                <a:lnTo>
                  <a:pt x="929" y="512"/>
                </a:lnTo>
                <a:close/>
                <a:moveTo>
                  <a:pt x="926" y="463"/>
                </a:moveTo>
                <a:cubicBezTo>
                  <a:pt x="926" y="463"/>
                  <a:pt x="926" y="463"/>
                  <a:pt x="926" y="463"/>
                </a:cubicBezTo>
                <a:cubicBezTo>
                  <a:pt x="926" y="463"/>
                  <a:pt x="926" y="463"/>
                  <a:pt x="926" y="463"/>
                </a:cubicBezTo>
                <a:close/>
                <a:moveTo>
                  <a:pt x="1180" y="512"/>
                </a:moveTo>
                <a:cubicBezTo>
                  <a:pt x="1206" y="551"/>
                  <a:pt x="1206" y="551"/>
                  <a:pt x="1206" y="551"/>
                </a:cubicBezTo>
                <a:cubicBezTo>
                  <a:pt x="1114" y="655"/>
                  <a:pt x="1114" y="655"/>
                  <a:pt x="1114" y="655"/>
                </a:cubicBezTo>
                <a:cubicBezTo>
                  <a:pt x="1091" y="614"/>
                  <a:pt x="1091" y="614"/>
                  <a:pt x="1091" y="614"/>
                </a:cubicBezTo>
                <a:lnTo>
                  <a:pt x="1180" y="512"/>
                </a:lnTo>
                <a:close/>
                <a:moveTo>
                  <a:pt x="1184" y="463"/>
                </a:moveTo>
                <a:cubicBezTo>
                  <a:pt x="1184" y="463"/>
                  <a:pt x="1184" y="463"/>
                  <a:pt x="1184" y="463"/>
                </a:cubicBezTo>
                <a:cubicBezTo>
                  <a:pt x="1184" y="463"/>
                  <a:pt x="1184" y="463"/>
                  <a:pt x="1184" y="463"/>
                </a:cubicBezTo>
                <a:close/>
                <a:moveTo>
                  <a:pt x="908" y="155"/>
                </a:moveTo>
                <a:cubicBezTo>
                  <a:pt x="961" y="87"/>
                  <a:pt x="1048" y="65"/>
                  <a:pt x="1128" y="99"/>
                </a:cubicBezTo>
                <a:cubicBezTo>
                  <a:pt x="1161" y="112"/>
                  <a:pt x="1186" y="134"/>
                  <a:pt x="1213" y="171"/>
                </a:cubicBezTo>
                <a:cubicBezTo>
                  <a:pt x="1220" y="181"/>
                  <a:pt x="1220" y="181"/>
                  <a:pt x="1220" y="181"/>
                </a:cubicBezTo>
                <a:cubicBezTo>
                  <a:pt x="1231" y="183"/>
                  <a:pt x="1231" y="183"/>
                  <a:pt x="1231" y="183"/>
                </a:cubicBezTo>
                <a:cubicBezTo>
                  <a:pt x="1233" y="184"/>
                  <a:pt x="1243" y="187"/>
                  <a:pt x="1250" y="202"/>
                </a:cubicBezTo>
                <a:cubicBezTo>
                  <a:pt x="1255" y="212"/>
                  <a:pt x="1260" y="231"/>
                  <a:pt x="1255" y="263"/>
                </a:cubicBezTo>
                <a:cubicBezTo>
                  <a:pt x="1246" y="240"/>
                  <a:pt x="1235" y="218"/>
                  <a:pt x="1222" y="204"/>
                </a:cubicBezTo>
                <a:cubicBezTo>
                  <a:pt x="1205" y="187"/>
                  <a:pt x="1205" y="187"/>
                  <a:pt x="1205" y="187"/>
                </a:cubicBezTo>
                <a:cubicBezTo>
                  <a:pt x="1184" y="200"/>
                  <a:pt x="1184" y="200"/>
                  <a:pt x="1184" y="200"/>
                </a:cubicBezTo>
                <a:cubicBezTo>
                  <a:pt x="1184" y="200"/>
                  <a:pt x="1141" y="228"/>
                  <a:pt x="1069" y="243"/>
                </a:cubicBezTo>
                <a:cubicBezTo>
                  <a:pt x="991" y="258"/>
                  <a:pt x="910" y="253"/>
                  <a:pt x="828" y="228"/>
                </a:cubicBezTo>
                <a:cubicBezTo>
                  <a:pt x="854" y="211"/>
                  <a:pt x="884" y="186"/>
                  <a:pt x="908" y="155"/>
                </a:cubicBezTo>
                <a:close/>
                <a:moveTo>
                  <a:pt x="867" y="299"/>
                </a:moveTo>
                <a:cubicBezTo>
                  <a:pt x="1025" y="332"/>
                  <a:pt x="1142" y="288"/>
                  <a:pt x="1191" y="264"/>
                </a:cubicBezTo>
                <a:cubicBezTo>
                  <a:pt x="1204" y="289"/>
                  <a:pt x="1216" y="330"/>
                  <a:pt x="1223" y="362"/>
                </a:cubicBezTo>
                <a:cubicBezTo>
                  <a:pt x="1190" y="424"/>
                  <a:pt x="1125" y="463"/>
                  <a:pt x="1055" y="463"/>
                </a:cubicBezTo>
                <a:cubicBezTo>
                  <a:pt x="959" y="463"/>
                  <a:pt x="879" y="392"/>
                  <a:pt x="867" y="299"/>
                </a:cubicBezTo>
                <a:close/>
                <a:moveTo>
                  <a:pt x="738" y="839"/>
                </a:moveTo>
                <a:cubicBezTo>
                  <a:pt x="738" y="740"/>
                  <a:pt x="784" y="649"/>
                  <a:pt x="859" y="590"/>
                </a:cubicBezTo>
                <a:cubicBezTo>
                  <a:pt x="971" y="717"/>
                  <a:pt x="971" y="717"/>
                  <a:pt x="971" y="717"/>
                </a:cubicBezTo>
                <a:cubicBezTo>
                  <a:pt x="971" y="943"/>
                  <a:pt x="971" y="943"/>
                  <a:pt x="971" y="943"/>
                </a:cubicBezTo>
                <a:cubicBezTo>
                  <a:pt x="999" y="970"/>
                  <a:pt x="999" y="970"/>
                  <a:pt x="999" y="970"/>
                </a:cubicBezTo>
                <a:cubicBezTo>
                  <a:pt x="963" y="970"/>
                  <a:pt x="927" y="971"/>
                  <a:pt x="891" y="972"/>
                </a:cubicBezTo>
                <a:cubicBezTo>
                  <a:pt x="891" y="850"/>
                  <a:pt x="891" y="850"/>
                  <a:pt x="891" y="850"/>
                </a:cubicBezTo>
                <a:cubicBezTo>
                  <a:pt x="832" y="850"/>
                  <a:pt x="832" y="850"/>
                  <a:pt x="832" y="850"/>
                </a:cubicBezTo>
                <a:cubicBezTo>
                  <a:pt x="832" y="975"/>
                  <a:pt x="832" y="975"/>
                  <a:pt x="832" y="975"/>
                </a:cubicBezTo>
                <a:cubicBezTo>
                  <a:pt x="800" y="977"/>
                  <a:pt x="769" y="979"/>
                  <a:pt x="738" y="981"/>
                </a:cubicBezTo>
                <a:cubicBezTo>
                  <a:pt x="738" y="839"/>
                  <a:pt x="738" y="839"/>
                  <a:pt x="738" y="839"/>
                </a:cubicBezTo>
                <a:close/>
                <a:moveTo>
                  <a:pt x="1024" y="1029"/>
                </a:moveTo>
                <a:cubicBezTo>
                  <a:pt x="1124" y="1029"/>
                  <a:pt x="1222" y="1033"/>
                  <a:pt x="1315" y="1041"/>
                </a:cubicBezTo>
                <a:cubicBezTo>
                  <a:pt x="1294" y="1079"/>
                  <a:pt x="1281" y="1123"/>
                  <a:pt x="1281" y="1170"/>
                </a:cubicBezTo>
                <a:cubicBezTo>
                  <a:pt x="1281" y="1268"/>
                  <a:pt x="1335" y="1354"/>
                  <a:pt x="1414" y="1400"/>
                </a:cubicBezTo>
                <a:cubicBezTo>
                  <a:pt x="1350" y="1423"/>
                  <a:pt x="1294" y="1461"/>
                  <a:pt x="1249" y="1510"/>
                </a:cubicBezTo>
                <a:cubicBezTo>
                  <a:pt x="1176" y="1515"/>
                  <a:pt x="1101" y="1517"/>
                  <a:pt x="1024" y="1517"/>
                </a:cubicBezTo>
                <a:cubicBezTo>
                  <a:pt x="947" y="1517"/>
                  <a:pt x="872" y="1515"/>
                  <a:pt x="799" y="1510"/>
                </a:cubicBezTo>
                <a:cubicBezTo>
                  <a:pt x="754" y="1461"/>
                  <a:pt x="698" y="1423"/>
                  <a:pt x="634" y="1400"/>
                </a:cubicBezTo>
                <a:cubicBezTo>
                  <a:pt x="713" y="1354"/>
                  <a:pt x="767" y="1268"/>
                  <a:pt x="767" y="1170"/>
                </a:cubicBezTo>
                <a:cubicBezTo>
                  <a:pt x="767" y="1123"/>
                  <a:pt x="754" y="1079"/>
                  <a:pt x="733" y="1041"/>
                </a:cubicBezTo>
                <a:cubicBezTo>
                  <a:pt x="826" y="1033"/>
                  <a:pt x="924" y="1029"/>
                  <a:pt x="1024" y="1029"/>
                </a:cubicBezTo>
                <a:close/>
                <a:moveTo>
                  <a:pt x="500" y="963"/>
                </a:moveTo>
                <a:cubicBezTo>
                  <a:pt x="615" y="963"/>
                  <a:pt x="708" y="1056"/>
                  <a:pt x="708" y="1170"/>
                </a:cubicBezTo>
                <a:cubicBezTo>
                  <a:pt x="708" y="1284"/>
                  <a:pt x="615" y="1378"/>
                  <a:pt x="500" y="1378"/>
                </a:cubicBezTo>
                <a:cubicBezTo>
                  <a:pt x="386" y="1378"/>
                  <a:pt x="293" y="1284"/>
                  <a:pt x="293" y="1170"/>
                </a:cubicBezTo>
                <a:cubicBezTo>
                  <a:pt x="293" y="1056"/>
                  <a:pt x="386" y="963"/>
                  <a:pt x="500" y="963"/>
                </a:cubicBezTo>
                <a:close/>
                <a:moveTo>
                  <a:pt x="236" y="1138"/>
                </a:moveTo>
                <a:cubicBezTo>
                  <a:pt x="234" y="1148"/>
                  <a:pt x="234" y="1159"/>
                  <a:pt x="234" y="1170"/>
                </a:cubicBezTo>
                <a:cubicBezTo>
                  <a:pt x="234" y="1268"/>
                  <a:pt x="287" y="1354"/>
                  <a:pt x="366" y="1400"/>
                </a:cubicBezTo>
                <a:cubicBezTo>
                  <a:pt x="344" y="1408"/>
                  <a:pt x="322" y="1418"/>
                  <a:pt x="301" y="1430"/>
                </a:cubicBezTo>
                <a:cubicBezTo>
                  <a:pt x="123" y="1377"/>
                  <a:pt x="59" y="1315"/>
                  <a:pt x="59" y="1273"/>
                </a:cubicBezTo>
                <a:cubicBezTo>
                  <a:pt x="59" y="1237"/>
                  <a:pt x="107" y="1185"/>
                  <a:pt x="236" y="1138"/>
                </a:cubicBezTo>
                <a:close/>
                <a:moveTo>
                  <a:pt x="59" y="1424"/>
                </a:moveTo>
                <a:cubicBezTo>
                  <a:pt x="59" y="1380"/>
                  <a:pt x="59" y="1380"/>
                  <a:pt x="59" y="1380"/>
                </a:cubicBezTo>
                <a:cubicBezTo>
                  <a:pt x="101" y="1416"/>
                  <a:pt x="163" y="1447"/>
                  <a:pt x="240" y="1473"/>
                </a:cubicBezTo>
                <a:cubicBezTo>
                  <a:pt x="218" y="1491"/>
                  <a:pt x="198" y="1512"/>
                  <a:pt x="180" y="1535"/>
                </a:cubicBezTo>
                <a:cubicBezTo>
                  <a:pt x="93" y="1495"/>
                  <a:pt x="59" y="1454"/>
                  <a:pt x="59" y="1424"/>
                </a:cubicBezTo>
                <a:close/>
                <a:moveTo>
                  <a:pt x="845" y="2009"/>
                </a:moveTo>
                <a:cubicBezTo>
                  <a:pt x="738" y="2009"/>
                  <a:pt x="738" y="2009"/>
                  <a:pt x="738" y="2009"/>
                </a:cubicBezTo>
                <a:cubicBezTo>
                  <a:pt x="738" y="1793"/>
                  <a:pt x="738" y="1793"/>
                  <a:pt x="738" y="1793"/>
                </a:cubicBezTo>
                <a:cubicBezTo>
                  <a:pt x="679" y="1793"/>
                  <a:pt x="679" y="1793"/>
                  <a:pt x="679" y="1793"/>
                </a:cubicBezTo>
                <a:cubicBezTo>
                  <a:pt x="679" y="2009"/>
                  <a:pt x="679" y="2009"/>
                  <a:pt x="679" y="2009"/>
                </a:cubicBezTo>
                <a:cubicBezTo>
                  <a:pt x="321" y="2009"/>
                  <a:pt x="321" y="2009"/>
                  <a:pt x="321" y="2009"/>
                </a:cubicBezTo>
                <a:cubicBezTo>
                  <a:pt x="321" y="1793"/>
                  <a:pt x="321" y="1793"/>
                  <a:pt x="321" y="1793"/>
                </a:cubicBezTo>
                <a:cubicBezTo>
                  <a:pt x="262" y="1793"/>
                  <a:pt x="262" y="1793"/>
                  <a:pt x="262" y="1793"/>
                </a:cubicBezTo>
                <a:cubicBezTo>
                  <a:pt x="262" y="2009"/>
                  <a:pt x="262" y="2009"/>
                  <a:pt x="262" y="2009"/>
                </a:cubicBezTo>
                <a:cubicBezTo>
                  <a:pt x="155" y="2009"/>
                  <a:pt x="155" y="2009"/>
                  <a:pt x="155" y="2009"/>
                </a:cubicBezTo>
                <a:cubicBezTo>
                  <a:pt x="155" y="1781"/>
                  <a:pt x="155" y="1781"/>
                  <a:pt x="155" y="1781"/>
                </a:cubicBezTo>
                <a:cubicBezTo>
                  <a:pt x="155" y="1591"/>
                  <a:pt x="310" y="1437"/>
                  <a:pt x="500" y="1437"/>
                </a:cubicBezTo>
                <a:cubicBezTo>
                  <a:pt x="690" y="1437"/>
                  <a:pt x="845" y="1591"/>
                  <a:pt x="845" y="1781"/>
                </a:cubicBezTo>
                <a:cubicBezTo>
                  <a:pt x="845" y="2009"/>
                  <a:pt x="845" y="2009"/>
                  <a:pt x="845" y="2009"/>
                </a:cubicBezTo>
                <a:close/>
                <a:moveTo>
                  <a:pt x="1144" y="1781"/>
                </a:moveTo>
                <a:cubicBezTo>
                  <a:pt x="1144" y="2009"/>
                  <a:pt x="1144" y="2009"/>
                  <a:pt x="1144" y="2009"/>
                </a:cubicBezTo>
                <a:cubicBezTo>
                  <a:pt x="904" y="2009"/>
                  <a:pt x="904" y="2009"/>
                  <a:pt x="904" y="2009"/>
                </a:cubicBezTo>
                <a:cubicBezTo>
                  <a:pt x="904" y="1781"/>
                  <a:pt x="904" y="1781"/>
                  <a:pt x="904" y="1781"/>
                </a:cubicBezTo>
                <a:cubicBezTo>
                  <a:pt x="904" y="1762"/>
                  <a:pt x="903" y="1743"/>
                  <a:pt x="900" y="1725"/>
                </a:cubicBezTo>
                <a:cubicBezTo>
                  <a:pt x="941" y="1726"/>
                  <a:pt x="982" y="1727"/>
                  <a:pt x="1024" y="1727"/>
                </a:cubicBezTo>
                <a:cubicBezTo>
                  <a:pt x="1066" y="1727"/>
                  <a:pt x="1107" y="1726"/>
                  <a:pt x="1148" y="1725"/>
                </a:cubicBezTo>
                <a:cubicBezTo>
                  <a:pt x="1145" y="1743"/>
                  <a:pt x="1144" y="1762"/>
                  <a:pt x="1144" y="1781"/>
                </a:cubicBezTo>
                <a:close/>
                <a:moveTo>
                  <a:pt x="1161" y="1665"/>
                </a:moveTo>
                <a:cubicBezTo>
                  <a:pt x="1116" y="1667"/>
                  <a:pt x="1070" y="1668"/>
                  <a:pt x="1024" y="1668"/>
                </a:cubicBezTo>
                <a:cubicBezTo>
                  <a:pt x="978" y="1668"/>
                  <a:pt x="932" y="1667"/>
                  <a:pt x="887" y="1665"/>
                </a:cubicBezTo>
                <a:cubicBezTo>
                  <a:pt x="877" y="1632"/>
                  <a:pt x="863" y="1601"/>
                  <a:pt x="845" y="1572"/>
                </a:cubicBezTo>
                <a:cubicBezTo>
                  <a:pt x="905" y="1575"/>
                  <a:pt x="965" y="1576"/>
                  <a:pt x="1024" y="1576"/>
                </a:cubicBezTo>
                <a:cubicBezTo>
                  <a:pt x="1083" y="1576"/>
                  <a:pt x="1143" y="1575"/>
                  <a:pt x="1203" y="1572"/>
                </a:cubicBezTo>
                <a:cubicBezTo>
                  <a:pt x="1185" y="1601"/>
                  <a:pt x="1171" y="1632"/>
                  <a:pt x="1161" y="1665"/>
                </a:cubicBezTo>
                <a:close/>
                <a:moveTo>
                  <a:pt x="1893" y="2009"/>
                </a:moveTo>
                <a:cubicBezTo>
                  <a:pt x="1786" y="2009"/>
                  <a:pt x="1786" y="2009"/>
                  <a:pt x="1786" y="2009"/>
                </a:cubicBezTo>
                <a:cubicBezTo>
                  <a:pt x="1786" y="1793"/>
                  <a:pt x="1786" y="1793"/>
                  <a:pt x="1786" y="1793"/>
                </a:cubicBezTo>
                <a:cubicBezTo>
                  <a:pt x="1727" y="1793"/>
                  <a:pt x="1727" y="1793"/>
                  <a:pt x="1727" y="1793"/>
                </a:cubicBezTo>
                <a:cubicBezTo>
                  <a:pt x="1727" y="2009"/>
                  <a:pt x="1727" y="2009"/>
                  <a:pt x="1727" y="2009"/>
                </a:cubicBezTo>
                <a:cubicBezTo>
                  <a:pt x="1369" y="2009"/>
                  <a:pt x="1369" y="2009"/>
                  <a:pt x="1369" y="2009"/>
                </a:cubicBezTo>
                <a:cubicBezTo>
                  <a:pt x="1369" y="1793"/>
                  <a:pt x="1369" y="1793"/>
                  <a:pt x="1369" y="1793"/>
                </a:cubicBezTo>
                <a:cubicBezTo>
                  <a:pt x="1310" y="1793"/>
                  <a:pt x="1310" y="1793"/>
                  <a:pt x="1310" y="1793"/>
                </a:cubicBezTo>
                <a:cubicBezTo>
                  <a:pt x="1310" y="2009"/>
                  <a:pt x="1310" y="2009"/>
                  <a:pt x="1310" y="2009"/>
                </a:cubicBezTo>
                <a:cubicBezTo>
                  <a:pt x="1203" y="2009"/>
                  <a:pt x="1203" y="2009"/>
                  <a:pt x="1203" y="2009"/>
                </a:cubicBezTo>
                <a:cubicBezTo>
                  <a:pt x="1203" y="1781"/>
                  <a:pt x="1203" y="1781"/>
                  <a:pt x="1203" y="1781"/>
                </a:cubicBezTo>
                <a:cubicBezTo>
                  <a:pt x="1203" y="1591"/>
                  <a:pt x="1358" y="1437"/>
                  <a:pt x="1548" y="1437"/>
                </a:cubicBezTo>
                <a:cubicBezTo>
                  <a:pt x="1738" y="1437"/>
                  <a:pt x="1893" y="1591"/>
                  <a:pt x="1893" y="1781"/>
                </a:cubicBezTo>
                <a:cubicBezTo>
                  <a:pt x="1893" y="2009"/>
                  <a:pt x="1893" y="2009"/>
                  <a:pt x="1893" y="2009"/>
                </a:cubicBezTo>
                <a:close/>
                <a:moveTo>
                  <a:pt x="1989" y="1424"/>
                </a:moveTo>
                <a:cubicBezTo>
                  <a:pt x="1989" y="1454"/>
                  <a:pt x="1955" y="1495"/>
                  <a:pt x="1868" y="1535"/>
                </a:cubicBezTo>
                <a:cubicBezTo>
                  <a:pt x="1850" y="1512"/>
                  <a:pt x="1830" y="1491"/>
                  <a:pt x="1808" y="1473"/>
                </a:cubicBezTo>
                <a:cubicBezTo>
                  <a:pt x="1885" y="1447"/>
                  <a:pt x="1947" y="1416"/>
                  <a:pt x="1989" y="1380"/>
                </a:cubicBezTo>
                <a:cubicBezTo>
                  <a:pt x="1989" y="1424"/>
                  <a:pt x="1989" y="1424"/>
                  <a:pt x="1989" y="1424"/>
                </a:cubicBezTo>
                <a:close/>
                <a:moveTo>
                  <a:pt x="1747" y="1430"/>
                </a:moveTo>
                <a:cubicBezTo>
                  <a:pt x="1726" y="1418"/>
                  <a:pt x="1704" y="1408"/>
                  <a:pt x="1682" y="1400"/>
                </a:cubicBezTo>
                <a:cubicBezTo>
                  <a:pt x="1761" y="1354"/>
                  <a:pt x="1814" y="1268"/>
                  <a:pt x="1814" y="1170"/>
                </a:cubicBezTo>
                <a:cubicBezTo>
                  <a:pt x="1814" y="1159"/>
                  <a:pt x="1814" y="1148"/>
                  <a:pt x="1812" y="1138"/>
                </a:cubicBezTo>
                <a:cubicBezTo>
                  <a:pt x="1941" y="1185"/>
                  <a:pt x="1989" y="1237"/>
                  <a:pt x="1989" y="1273"/>
                </a:cubicBezTo>
                <a:cubicBezTo>
                  <a:pt x="1989" y="1315"/>
                  <a:pt x="1925" y="1377"/>
                  <a:pt x="1747" y="14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91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EZIxGNY0qOXOgjrkgsrw"/>
</p:tagLst>
</file>

<file path=ppt/theme/theme1.xml><?xml version="1.0" encoding="utf-8"?>
<a:theme xmlns:a="http://schemas.openxmlformats.org/drawingml/2006/main" name="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6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0</TotalTime>
  <Words>507</Words>
  <Application>Microsoft Macintosh PowerPoint</Application>
  <PresentationFormat>Widescreen</PresentationFormat>
  <Paragraphs>75</Paragraphs>
  <Slides>11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Segoe UI</vt:lpstr>
      <vt:lpstr>Office Theme</vt:lpstr>
      <vt:lpstr>1_Office Theme</vt:lpstr>
      <vt:lpstr>PowerPoint Presentation</vt:lpstr>
      <vt:lpstr>KEY QUESTIONS AND OBJECTIVES</vt:lpstr>
      <vt:lpstr>PERFORMANCE OVERVIEW</vt:lpstr>
      <vt:lpstr>GLOBAL DISTRIBUTION</vt:lpstr>
      <vt:lpstr>FILM PERFORMANCE</vt:lpstr>
      <vt:lpstr>CATEGORY PERFORMANCE</vt:lpstr>
      <vt:lpstr>USERBASE VIEW</vt:lpstr>
      <vt:lpstr>RECOMMENDATIONS</vt:lpstr>
      <vt:lpstr>NEXT STEPS</vt:lpstr>
      <vt:lpstr>QUESTIONS? </vt:lpstr>
      <vt:lpstr>PowerPoint Presentation</vt:lpstr>
    </vt:vector>
  </TitlesOfParts>
  <Manager>You Exec</Manager>
  <Company>You Exec</Company>
  <LinksUpToDate>false</LinksUpToDate>
  <SharedDoc>false</SharedDoc>
  <HyperlinkBase>https://youexec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</dc:title>
  <dc:subject>You Exec</dc:subject>
  <dc:creator>You Exec</dc:creator>
  <cp:keywords>You Exec</cp:keywords>
  <dc:description>You Exec</dc:description>
  <cp:lastModifiedBy>Microsoft Office User</cp:lastModifiedBy>
  <cp:revision>87</cp:revision>
  <dcterms:created xsi:type="dcterms:W3CDTF">2018-05-31T08:01:28Z</dcterms:created>
  <dcterms:modified xsi:type="dcterms:W3CDTF">2024-08-13T00:48:39Z</dcterms:modified>
  <cp:category>You Exec</cp:category>
</cp:coreProperties>
</file>